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6"/>
  </p:notesMasterIdLst>
  <p:handoutMasterIdLst>
    <p:handoutMasterId r:id="rId27"/>
  </p:handoutMasterIdLst>
  <p:sldIdLst>
    <p:sldId id="256" r:id="rId4"/>
    <p:sldId id="405" r:id="rId5"/>
    <p:sldId id="265" r:id="rId6"/>
    <p:sldId id="411" r:id="rId7"/>
    <p:sldId id="423" r:id="rId8"/>
    <p:sldId id="424" r:id="rId9"/>
    <p:sldId id="406" r:id="rId10"/>
    <p:sldId id="412" r:id="rId11"/>
    <p:sldId id="407" r:id="rId12"/>
    <p:sldId id="413" r:id="rId13"/>
    <p:sldId id="408" r:id="rId14"/>
    <p:sldId id="409" r:id="rId15"/>
    <p:sldId id="422" r:id="rId16"/>
    <p:sldId id="414" r:id="rId17"/>
    <p:sldId id="417" r:id="rId18"/>
    <p:sldId id="415" r:id="rId19"/>
    <p:sldId id="416" r:id="rId20"/>
    <p:sldId id="418" r:id="rId21"/>
    <p:sldId id="419" r:id="rId22"/>
    <p:sldId id="410" r:id="rId23"/>
    <p:sldId id="421" r:id="rId24"/>
    <p:sldId id="273" r:id="rId25"/>
  </p:sldIdLst>
  <p:sldSz cx="12192000" cy="6858000"/>
  <p:notesSz cx="6858000" cy="91440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405"/>
            <p14:sldId id="265"/>
            <p14:sldId id="411"/>
            <p14:sldId id="423"/>
            <p14:sldId id="424"/>
            <p14:sldId id="406"/>
            <p14:sldId id="412"/>
            <p14:sldId id="407"/>
            <p14:sldId id="413"/>
            <p14:sldId id="408"/>
            <p14:sldId id="409"/>
            <p14:sldId id="422"/>
            <p14:sldId id="414"/>
            <p14:sldId id="417"/>
            <p14:sldId id="415"/>
            <p14:sldId id="416"/>
            <p14:sldId id="418"/>
            <p14:sldId id="419"/>
            <p14:sldId id="410"/>
            <p14:sldId id="42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4CC"/>
    <a:srgbClr val="2B0A3D"/>
    <a:srgbClr val="FF304C"/>
    <a:srgbClr val="FF6327"/>
    <a:srgbClr val="0070AD"/>
    <a:srgbClr val="FF7E83"/>
    <a:srgbClr val="88D5ED"/>
    <a:srgbClr val="00C37B"/>
    <a:srgbClr val="CB2980"/>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7764" autoAdjust="0"/>
  </p:normalViewPr>
  <p:slideViewPr>
    <p:cSldViewPr>
      <p:cViewPr varScale="1">
        <p:scale>
          <a:sx n="66" d="100"/>
          <a:sy n="66" d="100"/>
        </p:scale>
        <p:origin x="1330"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keating\Documents\I&amp;D%20Bootcamp\Showcase%20Data%20ideas\Lichess%20Data\pwingivenelodiff.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obability</a:t>
            </a:r>
            <a:r>
              <a:rPr lang="en-US" baseline="0"/>
              <a:t> of win given Elo differen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AVG(Target)</c:v>
                </c:pt>
              </c:strCache>
            </c:strRef>
          </c:tx>
          <c:spPr>
            <a:ln w="19050" cap="rnd">
              <a:noFill/>
              <a:round/>
            </a:ln>
            <a:effectLst/>
          </c:spPr>
          <c:marker>
            <c:symbol val="circle"/>
            <c:size val="2"/>
            <c:spPr>
              <a:solidFill>
                <a:srgbClr val="0070AD"/>
              </a:solidFill>
              <a:ln w="9525" cap="flat">
                <a:solidFill>
                  <a:schemeClr val="accent1"/>
                </a:solidFill>
              </a:ln>
              <a:effectLst/>
            </c:spPr>
          </c:marker>
          <c:xVal>
            <c:numRef>
              <c:f>Sheet1!$A$2:$A$2914</c:f>
              <c:numCache>
                <c:formatCode>General</c:formatCode>
                <c:ptCount val="2913"/>
                <c:pt idx="0">
                  <c:v>-1848</c:v>
                </c:pt>
                <c:pt idx="1">
                  <c:v>-1817</c:v>
                </c:pt>
                <c:pt idx="2">
                  <c:v>-1761</c:v>
                </c:pt>
                <c:pt idx="3">
                  <c:v>-1754</c:v>
                </c:pt>
                <c:pt idx="4">
                  <c:v>-1752</c:v>
                </c:pt>
                <c:pt idx="5">
                  <c:v>-1750</c:v>
                </c:pt>
                <c:pt idx="6">
                  <c:v>-1745</c:v>
                </c:pt>
                <c:pt idx="7">
                  <c:v>-1744</c:v>
                </c:pt>
                <c:pt idx="8">
                  <c:v>-1736</c:v>
                </c:pt>
                <c:pt idx="9">
                  <c:v>-1731</c:v>
                </c:pt>
                <c:pt idx="10">
                  <c:v>-1727</c:v>
                </c:pt>
                <c:pt idx="11">
                  <c:v>-1714</c:v>
                </c:pt>
                <c:pt idx="12">
                  <c:v>-1707</c:v>
                </c:pt>
                <c:pt idx="13">
                  <c:v>-1694</c:v>
                </c:pt>
                <c:pt idx="14">
                  <c:v>-1659</c:v>
                </c:pt>
                <c:pt idx="15">
                  <c:v>-1652</c:v>
                </c:pt>
                <c:pt idx="16">
                  <c:v>-1632</c:v>
                </c:pt>
                <c:pt idx="17">
                  <c:v>-1625</c:v>
                </c:pt>
                <c:pt idx="18">
                  <c:v>-1622</c:v>
                </c:pt>
                <c:pt idx="19">
                  <c:v>-1621</c:v>
                </c:pt>
                <c:pt idx="20">
                  <c:v>-1614</c:v>
                </c:pt>
                <c:pt idx="21">
                  <c:v>-1611</c:v>
                </c:pt>
                <c:pt idx="22">
                  <c:v>-1597</c:v>
                </c:pt>
                <c:pt idx="23">
                  <c:v>-1596</c:v>
                </c:pt>
                <c:pt idx="24">
                  <c:v>-1591</c:v>
                </c:pt>
                <c:pt idx="25">
                  <c:v>-1584</c:v>
                </c:pt>
                <c:pt idx="26">
                  <c:v>-1579</c:v>
                </c:pt>
                <c:pt idx="27">
                  <c:v>-1578</c:v>
                </c:pt>
                <c:pt idx="28">
                  <c:v>-1574</c:v>
                </c:pt>
                <c:pt idx="29">
                  <c:v>-1567</c:v>
                </c:pt>
                <c:pt idx="30">
                  <c:v>-1563</c:v>
                </c:pt>
                <c:pt idx="31">
                  <c:v>-1551</c:v>
                </c:pt>
                <c:pt idx="32">
                  <c:v>-1545</c:v>
                </c:pt>
                <c:pt idx="33">
                  <c:v>-1542</c:v>
                </c:pt>
                <c:pt idx="34">
                  <c:v>-1539</c:v>
                </c:pt>
                <c:pt idx="35">
                  <c:v>-1535</c:v>
                </c:pt>
                <c:pt idx="36">
                  <c:v>-1521</c:v>
                </c:pt>
                <c:pt idx="37">
                  <c:v>-1519</c:v>
                </c:pt>
                <c:pt idx="38">
                  <c:v>-1513</c:v>
                </c:pt>
                <c:pt idx="39">
                  <c:v>-1511</c:v>
                </c:pt>
                <c:pt idx="40">
                  <c:v>-1510</c:v>
                </c:pt>
                <c:pt idx="41">
                  <c:v>-1507</c:v>
                </c:pt>
                <c:pt idx="42">
                  <c:v>-1505</c:v>
                </c:pt>
                <c:pt idx="43">
                  <c:v>-1504</c:v>
                </c:pt>
                <c:pt idx="44">
                  <c:v>-1502</c:v>
                </c:pt>
                <c:pt idx="45">
                  <c:v>-1501</c:v>
                </c:pt>
                <c:pt idx="46">
                  <c:v>-1499</c:v>
                </c:pt>
                <c:pt idx="47">
                  <c:v>-1498</c:v>
                </c:pt>
                <c:pt idx="48">
                  <c:v>-1496</c:v>
                </c:pt>
                <c:pt idx="49">
                  <c:v>-1492</c:v>
                </c:pt>
                <c:pt idx="50">
                  <c:v>-1489</c:v>
                </c:pt>
                <c:pt idx="51">
                  <c:v>-1488</c:v>
                </c:pt>
                <c:pt idx="52">
                  <c:v>-1486</c:v>
                </c:pt>
                <c:pt idx="53">
                  <c:v>-1485</c:v>
                </c:pt>
                <c:pt idx="54">
                  <c:v>-1478</c:v>
                </c:pt>
                <c:pt idx="55">
                  <c:v>-1476</c:v>
                </c:pt>
                <c:pt idx="56">
                  <c:v>-1475</c:v>
                </c:pt>
                <c:pt idx="57">
                  <c:v>-1472</c:v>
                </c:pt>
                <c:pt idx="58">
                  <c:v>-1470</c:v>
                </c:pt>
                <c:pt idx="59">
                  <c:v>-1467</c:v>
                </c:pt>
                <c:pt idx="60">
                  <c:v>-1465</c:v>
                </c:pt>
                <c:pt idx="61">
                  <c:v>-1459</c:v>
                </c:pt>
                <c:pt idx="62">
                  <c:v>-1455</c:v>
                </c:pt>
                <c:pt idx="63">
                  <c:v>-1454</c:v>
                </c:pt>
                <c:pt idx="64">
                  <c:v>-1451</c:v>
                </c:pt>
                <c:pt idx="65">
                  <c:v>-1449</c:v>
                </c:pt>
                <c:pt idx="66">
                  <c:v>-1446</c:v>
                </c:pt>
                <c:pt idx="67">
                  <c:v>-1442</c:v>
                </c:pt>
                <c:pt idx="68">
                  <c:v>-1441</c:v>
                </c:pt>
                <c:pt idx="69">
                  <c:v>-1440</c:v>
                </c:pt>
                <c:pt idx="70">
                  <c:v>-1436</c:v>
                </c:pt>
                <c:pt idx="71">
                  <c:v>-1435</c:v>
                </c:pt>
                <c:pt idx="72">
                  <c:v>-1432</c:v>
                </c:pt>
                <c:pt idx="73">
                  <c:v>-1428</c:v>
                </c:pt>
                <c:pt idx="74">
                  <c:v>-1425</c:v>
                </c:pt>
                <c:pt idx="75">
                  <c:v>-1424</c:v>
                </c:pt>
                <c:pt idx="76">
                  <c:v>-1423</c:v>
                </c:pt>
                <c:pt idx="77">
                  <c:v>-1420</c:v>
                </c:pt>
                <c:pt idx="78">
                  <c:v>-1418</c:v>
                </c:pt>
                <c:pt idx="79">
                  <c:v>-1417</c:v>
                </c:pt>
                <c:pt idx="80">
                  <c:v>-1416</c:v>
                </c:pt>
                <c:pt idx="81">
                  <c:v>-1415</c:v>
                </c:pt>
                <c:pt idx="82">
                  <c:v>-1414</c:v>
                </c:pt>
                <c:pt idx="83">
                  <c:v>-1413</c:v>
                </c:pt>
                <c:pt idx="84">
                  <c:v>-1410</c:v>
                </c:pt>
                <c:pt idx="85">
                  <c:v>-1409</c:v>
                </c:pt>
                <c:pt idx="86">
                  <c:v>-1403</c:v>
                </c:pt>
                <c:pt idx="87">
                  <c:v>-1402</c:v>
                </c:pt>
                <c:pt idx="88">
                  <c:v>-1401</c:v>
                </c:pt>
                <c:pt idx="89">
                  <c:v>-1399</c:v>
                </c:pt>
                <c:pt idx="90">
                  <c:v>-1398</c:v>
                </c:pt>
                <c:pt idx="91">
                  <c:v>-1397</c:v>
                </c:pt>
                <c:pt idx="92">
                  <c:v>-1392</c:v>
                </c:pt>
                <c:pt idx="93">
                  <c:v>-1388</c:v>
                </c:pt>
                <c:pt idx="94">
                  <c:v>-1387</c:v>
                </c:pt>
                <c:pt idx="95">
                  <c:v>-1386</c:v>
                </c:pt>
                <c:pt idx="96">
                  <c:v>-1385</c:v>
                </c:pt>
                <c:pt idx="97">
                  <c:v>-1384</c:v>
                </c:pt>
                <c:pt idx="98">
                  <c:v>-1381</c:v>
                </c:pt>
                <c:pt idx="99">
                  <c:v>-1380</c:v>
                </c:pt>
                <c:pt idx="100">
                  <c:v>-1379</c:v>
                </c:pt>
                <c:pt idx="101">
                  <c:v>-1377</c:v>
                </c:pt>
                <c:pt idx="102">
                  <c:v>-1376</c:v>
                </c:pt>
                <c:pt idx="103">
                  <c:v>-1375</c:v>
                </c:pt>
                <c:pt idx="104">
                  <c:v>-1374</c:v>
                </c:pt>
                <c:pt idx="105">
                  <c:v>-1373</c:v>
                </c:pt>
                <c:pt idx="106">
                  <c:v>-1372</c:v>
                </c:pt>
                <c:pt idx="107">
                  <c:v>-1371</c:v>
                </c:pt>
                <c:pt idx="108">
                  <c:v>-1370</c:v>
                </c:pt>
                <c:pt idx="109">
                  <c:v>-1369</c:v>
                </c:pt>
                <c:pt idx="110">
                  <c:v>-1367</c:v>
                </c:pt>
                <c:pt idx="111">
                  <c:v>-1366</c:v>
                </c:pt>
                <c:pt idx="112">
                  <c:v>-1364</c:v>
                </c:pt>
                <c:pt idx="113">
                  <c:v>-1362</c:v>
                </c:pt>
                <c:pt idx="114">
                  <c:v>-1359</c:v>
                </c:pt>
                <c:pt idx="115">
                  <c:v>-1358</c:v>
                </c:pt>
                <c:pt idx="116">
                  <c:v>-1356</c:v>
                </c:pt>
                <c:pt idx="117">
                  <c:v>-1355</c:v>
                </c:pt>
                <c:pt idx="118">
                  <c:v>-1354</c:v>
                </c:pt>
                <c:pt idx="119">
                  <c:v>-1353</c:v>
                </c:pt>
                <c:pt idx="120">
                  <c:v>-1352</c:v>
                </c:pt>
                <c:pt idx="121">
                  <c:v>-1351</c:v>
                </c:pt>
                <c:pt idx="122">
                  <c:v>-1350</c:v>
                </c:pt>
                <c:pt idx="123">
                  <c:v>-1349</c:v>
                </c:pt>
                <c:pt idx="124">
                  <c:v>-1348</c:v>
                </c:pt>
                <c:pt idx="125">
                  <c:v>-1347</c:v>
                </c:pt>
                <c:pt idx="126">
                  <c:v>-1346</c:v>
                </c:pt>
                <c:pt idx="127">
                  <c:v>-1345</c:v>
                </c:pt>
                <c:pt idx="128">
                  <c:v>-1343</c:v>
                </c:pt>
                <c:pt idx="129">
                  <c:v>-1342</c:v>
                </c:pt>
                <c:pt idx="130">
                  <c:v>-1341</c:v>
                </c:pt>
                <c:pt idx="131">
                  <c:v>-1340</c:v>
                </c:pt>
                <c:pt idx="132">
                  <c:v>-1338</c:v>
                </c:pt>
                <c:pt idx="133">
                  <c:v>-1337</c:v>
                </c:pt>
                <c:pt idx="134">
                  <c:v>-1334</c:v>
                </c:pt>
                <c:pt idx="135">
                  <c:v>-1333</c:v>
                </c:pt>
                <c:pt idx="136">
                  <c:v>-1332</c:v>
                </c:pt>
                <c:pt idx="137">
                  <c:v>-1331</c:v>
                </c:pt>
                <c:pt idx="138">
                  <c:v>-1330</c:v>
                </c:pt>
                <c:pt idx="139">
                  <c:v>-1329</c:v>
                </c:pt>
                <c:pt idx="140">
                  <c:v>-1328</c:v>
                </c:pt>
                <c:pt idx="141">
                  <c:v>-1327</c:v>
                </c:pt>
                <c:pt idx="142">
                  <c:v>-1326</c:v>
                </c:pt>
                <c:pt idx="143">
                  <c:v>-1325</c:v>
                </c:pt>
                <c:pt idx="144">
                  <c:v>-1322</c:v>
                </c:pt>
                <c:pt idx="145">
                  <c:v>-1321</c:v>
                </c:pt>
                <c:pt idx="146">
                  <c:v>-1320</c:v>
                </c:pt>
                <c:pt idx="147">
                  <c:v>-1319</c:v>
                </c:pt>
                <c:pt idx="148">
                  <c:v>-1318</c:v>
                </c:pt>
                <c:pt idx="149">
                  <c:v>-1317</c:v>
                </c:pt>
                <c:pt idx="150">
                  <c:v>-1315</c:v>
                </c:pt>
                <c:pt idx="151">
                  <c:v>-1313</c:v>
                </c:pt>
                <c:pt idx="152">
                  <c:v>-1311</c:v>
                </c:pt>
                <c:pt idx="153">
                  <c:v>-1310</c:v>
                </c:pt>
                <c:pt idx="154">
                  <c:v>-1309</c:v>
                </c:pt>
                <c:pt idx="155">
                  <c:v>-1308</c:v>
                </c:pt>
                <c:pt idx="156">
                  <c:v>-1307</c:v>
                </c:pt>
                <c:pt idx="157">
                  <c:v>-1306</c:v>
                </c:pt>
                <c:pt idx="158">
                  <c:v>-1305</c:v>
                </c:pt>
                <c:pt idx="159">
                  <c:v>-1303</c:v>
                </c:pt>
                <c:pt idx="160">
                  <c:v>-1302</c:v>
                </c:pt>
                <c:pt idx="161">
                  <c:v>-1301</c:v>
                </c:pt>
                <c:pt idx="162">
                  <c:v>-1300</c:v>
                </c:pt>
                <c:pt idx="163">
                  <c:v>-1299</c:v>
                </c:pt>
                <c:pt idx="164">
                  <c:v>-1298</c:v>
                </c:pt>
                <c:pt idx="165">
                  <c:v>-1297</c:v>
                </c:pt>
                <c:pt idx="166">
                  <c:v>-1296</c:v>
                </c:pt>
                <c:pt idx="167">
                  <c:v>-1295</c:v>
                </c:pt>
                <c:pt idx="168">
                  <c:v>-1294</c:v>
                </c:pt>
                <c:pt idx="169">
                  <c:v>-1293</c:v>
                </c:pt>
                <c:pt idx="170">
                  <c:v>-1292</c:v>
                </c:pt>
                <c:pt idx="171">
                  <c:v>-1291</c:v>
                </c:pt>
                <c:pt idx="172">
                  <c:v>-1290</c:v>
                </c:pt>
                <c:pt idx="173">
                  <c:v>-1289</c:v>
                </c:pt>
                <c:pt idx="174">
                  <c:v>-1288</c:v>
                </c:pt>
                <c:pt idx="175">
                  <c:v>-1287</c:v>
                </c:pt>
                <c:pt idx="176">
                  <c:v>-1286</c:v>
                </c:pt>
                <c:pt idx="177">
                  <c:v>-1285</c:v>
                </c:pt>
                <c:pt idx="178">
                  <c:v>-1284</c:v>
                </c:pt>
                <c:pt idx="179">
                  <c:v>-1283</c:v>
                </c:pt>
                <c:pt idx="180">
                  <c:v>-1282</c:v>
                </c:pt>
                <c:pt idx="181">
                  <c:v>-1281</c:v>
                </c:pt>
                <c:pt idx="182">
                  <c:v>-1280</c:v>
                </c:pt>
                <c:pt idx="183">
                  <c:v>-1279</c:v>
                </c:pt>
                <c:pt idx="184">
                  <c:v>-1278</c:v>
                </c:pt>
                <c:pt idx="185">
                  <c:v>-1277</c:v>
                </c:pt>
                <c:pt idx="186">
                  <c:v>-1276</c:v>
                </c:pt>
                <c:pt idx="187">
                  <c:v>-1275</c:v>
                </c:pt>
                <c:pt idx="188">
                  <c:v>-1274</c:v>
                </c:pt>
                <c:pt idx="189">
                  <c:v>-1273</c:v>
                </c:pt>
                <c:pt idx="190">
                  <c:v>-1272</c:v>
                </c:pt>
                <c:pt idx="191">
                  <c:v>-1271</c:v>
                </c:pt>
                <c:pt idx="192">
                  <c:v>-1270</c:v>
                </c:pt>
                <c:pt idx="193">
                  <c:v>-1269</c:v>
                </c:pt>
                <c:pt idx="194">
                  <c:v>-1268</c:v>
                </c:pt>
                <c:pt idx="195">
                  <c:v>-1267</c:v>
                </c:pt>
                <c:pt idx="196">
                  <c:v>-1266</c:v>
                </c:pt>
                <c:pt idx="197">
                  <c:v>-1265</c:v>
                </c:pt>
                <c:pt idx="198">
                  <c:v>-1264</c:v>
                </c:pt>
                <c:pt idx="199">
                  <c:v>-1263</c:v>
                </c:pt>
                <c:pt idx="200">
                  <c:v>-1262</c:v>
                </c:pt>
                <c:pt idx="201">
                  <c:v>-1261</c:v>
                </c:pt>
                <c:pt idx="202">
                  <c:v>-1260</c:v>
                </c:pt>
                <c:pt idx="203">
                  <c:v>-1259</c:v>
                </c:pt>
                <c:pt idx="204">
                  <c:v>-1258</c:v>
                </c:pt>
                <c:pt idx="205">
                  <c:v>-1257</c:v>
                </c:pt>
                <c:pt idx="206">
                  <c:v>-1256</c:v>
                </c:pt>
                <c:pt idx="207">
                  <c:v>-1255</c:v>
                </c:pt>
                <c:pt idx="208">
                  <c:v>-1254</c:v>
                </c:pt>
                <c:pt idx="209">
                  <c:v>-1253</c:v>
                </c:pt>
                <c:pt idx="210">
                  <c:v>-1252</c:v>
                </c:pt>
                <c:pt idx="211">
                  <c:v>-1251</c:v>
                </c:pt>
                <c:pt idx="212">
                  <c:v>-1250</c:v>
                </c:pt>
                <c:pt idx="213">
                  <c:v>-1249</c:v>
                </c:pt>
                <c:pt idx="214">
                  <c:v>-1248</c:v>
                </c:pt>
                <c:pt idx="215">
                  <c:v>-1247</c:v>
                </c:pt>
                <c:pt idx="216">
                  <c:v>-1246</c:v>
                </c:pt>
                <c:pt idx="217">
                  <c:v>-1245</c:v>
                </c:pt>
                <c:pt idx="218">
                  <c:v>-1244</c:v>
                </c:pt>
                <c:pt idx="219">
                  <c:v>-1243</c:v>
                </c:pt>
                <c:pt idx="220">
                  <c:v>-1242</c:v>
                </c:pt>
                <c:pt idx="221">
                  <c:v>-1241</c:v>
                </c:pt>
                <c:pt idx="222">
                  <c:v>-1240</c:v>
                </c:pt>
                <c:pt idx="223">
                  <c:v>-1239</c:v>
                </c:pt>
                <c:pt idx="224">
                  <c:v>-1238</c:v>
                </c:pt>
                <c:pt idx="225">
                  <c:v>-1237</c:v>
                </c:pt>
                <c:pt idx="226">
                  <c:v>-1236</c:v>
                </c:pt>
                <c:pt idx="227">
                  <c:v>-1235</c:v>
                </c:pt>
                <c:pt idx="228">
                  <c:v>-1234</c:v>
                </c:pt>
                <c:pt idx="229">
                  <c:v>-1233</c:v>
                </c:pt>
                <c:pt idx="230">
                  <c:v>-1232</c:v>
                </c:pt>
                <c:pt idx="231">
                  <c:v>-1231</c:v>
                </c:pt>
                <c:pt idx="232">
                  <c:v>-1230</c:v>
                </c:pt>
                <c:pt idx="233">
                  <c:v>-1229</c:v>
                </c:pt>
                <c:pt idx="234">
                  <c:v>-1228</c:v>
                </c:pt>
                <c:pt idx="235">
                  <c:v>-1227</c:v>
                </c:pt>
                <c:pt idx="236">
                  <c:v>-1226</c:v>
                </c:pt>
                <c:pt idx="237">
                  <c:v>-1225</c:v>
                </c:pt>
                <c:pt idx="238">
                  <c:v>-1224</c:v>
                </c:pt>
                <c:pt idx="239">
                  <c:v>-1223</c:v>
                </c:pt>
                <c:pt idx="240">
                  <c:v>-1222</c:v>
                </c:pt>
                <c:pt idx="241">
                  <c:v>-1221</c:v>
                </c:pt>
                <c:pt idx="242">
                  <c:v>-1220</c:v>
                </c:pt>
                <c:pt idx="243">
                  <c:v>-1219</c:v>
                </c:pt>
                <c:pt idx="244">
                  <c:v>-1218</c:v>
                </c:pt>
                <c:pt idx="245">
                  <c:v>-1217</c:v>
                </c:pt>
                <c:pt idx="246">
                  <c:v>-1216</c:v>
                </c:pt>
                <c:pt idx="247">
                  <c:v>-1215</c:v>
                </c:pt>
                <c:pt idx="248">
                  <c:v>-1214</c:v>
                </c:pt>
                <c:pt idx="249">
                  <c:v>-1213</c:v>
                </c:pt>
                <c:pt idx="250">
                  <c:v>-1212</c:v>
                </c:pt>
                <c:pt idx="251">
                  <c:v>-1211</c:v>
                </c:pt>
                <c:pt idx="252">
                  <c:v>-1210</c:v>
                </c:pt>
                <c:pt idx="253">
                  <c:v>-1209</c:v>
                </c:pt>
                <c:pt idx="254">
                  <c:v>-1206</c:v>
                </c:pt>
                <c:pt idx="255">
                  <c:v>-1205</c:v>
                </c:pt>
                <c:pt idx="256">
                  <c:v>-1204</c:v>
                </c:pt>
                <c:pt idx="257">
                  <c:v>-1203</c:v>
                </c:pt>
                <c:pt idx="258">
                  <c:v>-1202</c:v>
                </c:pt>
                <c:pt idx="259">
                  <c:v>-1201</c:v>
                </c:pt>
                <c:pt idx="260">
                  <c:v>-1200</c:v>
                </c:pt>
                <c:pt idx="261">
                  <c:v>-1199</c:v>
                </c:pt>
                <c:pt idx="262">
                  <c:v>-1198</c:v>
                </c:pt>
                <c:pt idx="263">
                  <c:v>-1197</c:v>
                </c:pt>
                <c:pt idx="264">
                  <c:v>-1196</c:v>
                </c:pt>
                <c:pt idx="265">
                  <c:v>-1195</c:v>
                </c:pt>
                <c:pt idx="266">
                  <c:v>-1194</c:v>
                </c:pt>
                <c:pt idx="267">
                  <c:v>-1193</c:v>
                </c:pt>
                <c:pt idx="268">
                  <c:v>-1192</c:v>
                </c:pt>
                <c:pt idx="269">
                  <c:v>-1191</c:v>
                </c:pt>
                <c:pt idx="270">
                  <c:v>-1190</c:v>
                </c:pt>
                <c:pt idx="271">
                  <c:v>-1189</c:v>
                </c:pt>
                <c:pt idx="272">
                  <c:v>-1188</c:v>
                </c:pt>
                <c:pt idx="273">
                  <c:v>-1187</c:v>
                </c:pt>
                <c:pt idx="274">
                  <c:v>-1186</c:v>
                </c:pt>
                <c:pt idx="275">
                  <c:v>-1185</c:v>
                </c:pt>
                <c:pt idx="276">
                  <c:v>-1184</c:v>
                </c:pt>
                <c:pt idx="277">
                  <c:v>-1183</c:v>
                </c:pt>
                <c:pt idx="278">
                  <c:v>-1182</c:v>
                </c:pt>
                <c:pt idx="279">
                  <c:v>-1181</c:v>
                </c:pt>
                <c:pt idx="280">
                  <c:v>-1180</c:v>
                </c:pt>
                <c:pt idx="281">
                  <c:v>-1179</c:v>
                </c:pt>
                <c:pt idx="282">
                  <c:v>-1178</c:v>
                </c:pt>
                <c:pt idx="283">
                  <c:v>-1177</c:v>
                </c:pt>
                <c:pt idx="284">
                  <c:v>-1176</c:v>
                </c:pt>
                <c:pt idx="285">
                  <c:v>-1175</c:v>
                </c:pt>
                <c:pt idx="286">
                  <c:v>-1174</c:v>
                </c:pt>
                <c:pt idx="287">
                  <c:v>-1173</c:v>
                </c:pt>
                <c:pt idx="288">
                  <c:v>-1172</c:v>
                </c:pt>
                <c:pt idx="289">
                  <c:v>-1171</c:v>
                </c:pt>
                <c:pt idx="290">
                  <c:v>-1170</c:v>
                </c:pt>
                <c:pt idx="291">
                  <c:v>-1169</c:v>
                </c:pt>
                <c:pt idx="292">
                  <c:v>-1168</c:v>
                </c:pt>
                <c:pt idx="293">
                  <c:v>-1167</c:v>
                </c:pt>
                <c:pt idx="294">
                  <c:v>-1166</c:v>
                </c:pt>
                <c:pt idx="295">
                  <c:v>-1165</c:v>
                </c:pt>
                <c:pt idx="296">
                  <c:v>-1164</c:v>
                </c:pt>
                <c:pt idx="297">
                  <c:v>-1163</c:v>
                </c:pt>
                <c:pt idx="298">
                  <c:v>-1162</c:v>
                </c:pt>
                <c:pt idx="299">
                  <c:v>-1161</c:v>
                </c:pt>
                <c:pt idx="300">
                  <c:v>-1160</c:v>
                </c:pt>
                <c:pt idx="301">
                  <c:v>-1159</c:v>
                </c:pt>
                <c:pt idx="302">
                  <c:v>-1158</c:v>
                </c:pt>
                <c:pt idx="303">
                  <c:v>-1157</c:v>
                </c:pt>
                <c:pt idx="304">
                  <c:v>-1156</c:v>
                </c:pt>
                <c:pt idx="305">
                  <c:v>-1155</c:v>
                </c:pt>
                <c:pt idx="306">
                  <c:v>-1154</c:v>
                </c:pt>
                <c:pt idx="307">
                  <c:v>-1153</c:v>
                </c:pt>
                <c:pt idx="308">
                  <c:v>-1152</c:v>
                </c:pt>
                <c:pt idx="309">
                  <c:v>-1151</c:v>
                </c:pt>
                <c:pt idx="310">
                  <c:v>-1150</c:v>
                </c:pt>
                <c:pt idx="311">
                  <c:v>-1149</c:v>
                </c:pt>
                <c:pt idx="312">
                  <c:v>-1148</c:v>
                </c:pt>
                <c:pt idx="313">
                  <c:v>-1147</c:v>
                </c:pt>
                <c:pt idx="314">
                  <c:v>-1146</c:v>
                </c:pt>
                <c:pt idx="315">
                  <c:v>-1145</c:v>
                </c:pt>
                <c:pt idx="316">
                  <c:v>-1144</c:v>
                </c:pt>
                <c:pt idx="317">
                  <c:v>-1143</c:v>
                </c:pt>
                <c:pt idx="318">
                  <c:v>-1142</c:v>
                </c:pt>
                <c:pt idx="319">
                  <c:v>-1141</c:v>
                </c:pt>
                <c:pt idx="320">
                  <c:v>-1140</c:v>
                </c:pt>
                <c:pt idx="321">
                  <c:v>-1139</c:v>
                </c:pt>
                <c:pt idx="322">
                  <c:v>-1138</c:v>
                </c:pt>
                <c:pt idx="323">
                  <c:v>-1137</c:v>
                </c:pt>
                <c:pt idx="324">
                  <c:v>-1136</c:v>
                </c:pt>
                <c:pt idx="325">
                  <c:v>-1135</c:v>
                </c:pt>
                <c:pt idx="326">
                  <c:v>-1134</c:v>
                </c:pt>
                <c:pt idx="327">
                  <c:v>-1133</c:v>
                </c:pt>
                <c:pt idx="328">
                  <c:v>-1132</c:v>
                </c:pt>
                <c:pt idx="329">
                  <c:v>-1131</c:v>
                </c:pt>
                <c:pt idx="330">
                  <c:v>-1130</c:v>
                </c:pt>
                <c:pt idx="331">
                  <c:v>-1129</c:v>
                </c:pt>
                <c:pt idx="332">
                  <c:v>-1128</c:v>
                </c:pt>
                <c:pt idx="333">
                  <c:v>-1127</c:v>
                </c:pt>
                <c:pt idx="334">
                  <c:v>-1126</c:v>
                </c:pt>
                <c:pt idx="335">
                  <c:v>-1125</c:v>
                </c:pt>
                <c:pt idx="336">
                  <c:v>-1124</c:v>
                </c:pt>
                <c:pt idx="337">
                  <c:v>-1123</c:v>
                </c:pt>
                <c:pt idx="338">
                  <c:v>-1122</c:v>
                </c:pt>
                <c:pt idx="339">
                  <c:v>-1121</c:v>
                </c:pt>
                <c:pt idx="340">
                  <c:v>-1120</c:v>
                </c:pt>
                <c:pt idx="341">
                  <c:v>-1119</c:v>
                </c:pt>
                <c:pt idx="342">
                  <c:v>-1118</c:v>
                </c:pt>
                <c:pt idx="343">
                  <c:v>-1117</c:v>
                </c:pt>
                <c:pt idx="344">
                  <c:v>-1116</c:v>
                </c:pt>
                <c:pt idx="345">
                  <c:v>-1115</c:v>
                </c:pt>
                <c:pt idx="346">
                  <c:v>-1114</c:v>
                </c:pt>
                <c:pt idx="347">
                  <c:v>-1113</c:v>
                </c:pt>
                <c:pt idx="348">
                  <c:v>-1112</c:v>
                </c:pt>
                <c:pt idx="349">
                  <c:v>-1111</c:v>
                </c:pt>
                <c:pt idx="350">
                  <c:v>-1110</c:v>
                </c:pt>
                <c:pt idx="351">
                  <c:v>-1109</c:v>
                </c:pt>
                <c:pt idx="352">
                  <c:v>-1108</c:v>
                </c:pt>
                <c:pt idx="353">
                  <c:v>-1107</c:v>
                </c:pt>
                <c:pt idx="354">
                  <c:v>-1106</c:v>
                </c:pt>
                <c:pt idx="355">
                  <c:v>-1105</c:v>
                </c:pt>
                <c:pt idx="356">
                  <c:v>-1104</c:v>
                </c:pt>
                <c:pt idx="357">
                  <c:v>-1103</c:v>
                </c:pt>
                <c:pt idx="358">
                  <c:v>-1102</c:v>
                </c:pt>
                <c:pt idx="359">
                  <c:v>-1101</c:v>
                </c:pt>
                <c:pt idx="360">
                  <c:v>-1100</c:v>
                </c:pt>
                <c:pt idx="361">
                  <c:v>-1099</c:v>
                </c:pt>
                <c:pt idx="362">
                  <c:v>-1098</c:v>
                </c:pt>
                <c:pt idx="363">
                  <c:v>-1097</c:v>
                </c:pt>
                <c:pt idx="364">
                  <c:v>-1096</c:v>
                </c:pt>
                <c:pt idx="365">
                  <c:v>-1095</c:v>
                </c:pt>
                <c:pt idx="366">
                  <c:v>-1094</c:v>
                </c:pt>
                <c:pt idx="367">
                  <c:v>-1093</c:v>
                </c:pt>
                <c:pt idx="368">
                  <c:v>-1092</c:v>
                </c:pt>
                <c:pt idx="369">
                  <c:v>-1091</c:v>
                </c:pt>
                <c:pt idx="370">
                  <c:v>-1090</c:v>
                </c:pt>
                <c:pt idx="371">
                  <c:v>-1089</c:v>
                </c:pt>
                <c:pt idx="372">
                  <c:v>-1088</c:v>
                </c:pt>
                <c:pt idx="373">
                  <c:v>-1087</c:v>
                </c:pt>
                <c:pt idx="374">
                  <c:v>-1086</c:v>
                </c:pt>
                <c:pt idx="375">
                  <c:v>-1085</c:v>
                </c:pt>
                <c:pt idx="376">
                  <c:v>-1084</c:v>
                </c:pt>
                <c:pt idx="377">
                  <c:v>-1083</c:v>
                </c:pt>
                <c:pt idx="378">
                  <c:v>-1082</c:v>
                </c:pt>
                <c:pt idx="379">
                  <c:v>-1081</c:v>
                </c:pt>
                <c:pt idx="380">
                  <c:v>-1080</c:v>
                </c:pt>
                <c:pt idx="381">
                  <c:v>-1079</c:v>
                </c:pt>
                <c:pt idx="382">
                  <c:v>-1078</c:v>
                </c:pt>
                <c:pt idx="383">
                  <c:v>-1077</c:v>
                </c:pt>
                <c:pt idx="384">
                  <c:v>-1076</c:v>
                </c:pt>
                <c:pt idx="385">
                  <c:v>-1075</c:v>
                </c:pt>
                <c:pt idx="386">
                  <c:v>-1074</c:v>
                </c:pt>
                <c:pt idx="387">
                  <c:v>-1073</c:v>
                </c:pt>
                <c:pt idx="388">
                  <c:v>-1072</c:v>
                </c:pt>
                <c:pt idx="389">
                  <c:v>-1071</c:v>
                </c:pt>
                <c:pt idx="390">
                  <c:v>-1070</c:v>
                </c:pt>
                <c:pt idx="391">
                  <c:v>-1069</c:v>
                </c:pt>
                <c:pt idx="392">
                  <c:v>-1068</c:v>
                </c:pt>
                <c:pt idx="393">
                  <c:v>-1067</c:v>
                </c:pt>
                <c:pt idx="394">
                  <c:v>-1066</c:v>
                </c:pt>
                <c:pt idx="395">
                  <c:v>-1065</c:v>
                </c:pt>
                <c:pt idx="396">
                  <c:v>-1064</c:v>
                </c:pt>
                <c:pt idx="397">
                  <c:v>-1063</c:v>
                </c:pt>
                <c:pt idx="398">
                  <c:v>-1062</c:v>
                </c:pt>
                <c:pt idx="399">
                  <c:v>-1061</c:v>
                </c:pt>
                <c:pt idx="400">
                  <c:v>-1060</c:v>
                </c:pt>
                <c:pt idx="401">
                  <c:v>-1059</c:v>
                </c:pt>
                <c:pt idx="402">
                  <c:v>-1058</c:v>
                </c:pt>
                <c:pt idx="403">
                  <c:v>-1057</c:v>
                </c:pt>
                <c:pt idx="404">
                  <c:v>-1056</c:v>
                </c:pt>
                <c:pt idx="405">
                  <c:v>-1055</c:v>
                </c:pt>
                <c:pt idx="406">
                  <c:v>-1054</c:v>
                </c:pt>
                <c:pt idx="407">
                  <c:v>-1053</c:v>
                </c:pt>
                <c:pt idx="408">
                  <c:v>-1052</c:v>
                </c:pt>
                <c:pt idx="409">
                  <c:v>-1051</c:v>
                </c:pt>
                <c:pt idx="410">
                  <c:v>-1050</c:v>
                </c:pt>
                <c:pt idx="411">
                  <c:v>-1049</c:v>
                </c:pt>
                <c:pt idx="412">
                  <c:v>-1048</c:v>
                </c:pt>
                <c:pt idx="413">
                  <c:v>-1047</c:v>
                </c:pt>
                <c:pt idx="414">
                  <c:v>-1046</c:v>
                </c:pt>
                <c:pt idx="415">
                  <c:v>-1045</c:v>
                </c:pt>
                <c:pt idx="416">
                  <c:v>-1044</c:v>
                </c:pt>
                <c:pt idx="417">
                  <c:v>-1043</c:v>
                </c:pt>
                <c:pt idx="418">
                  <c:v>-1042</c:v>
                </c:pt>
                <c:pt idx="419">
                  <c:v>-1041</c:v>
                </c:pt>
                <c:pt idx="420">
                  <c:v>-1040</c:v>
                </c:pt>
                <c:pt idx="421">
                  <c:v>-1039</c:v>
                </c:pt>
                <c:pt idx="422">
                  <c:v>-1038</c:v>
                </c:pt>
                <c:pt idx="423">
                  <c:v>-1037</c:v>
                </c:pt>
                <c:pt idx="424">
                  <c:v>-1036</c:v>
                </c:pt>
                <c:pt idx="425">
                  <c:v>-1035</c:v>
                </c:pt>
                <c:pt idx="426">
                  <c:v>-1034</c:v>
                </c:pt>
                <c:pt idx="427">
                  <c:v>-1033</c:v>
                </c:pt>
                <c:pt idx="428">
                  <c:v>-1032</c:v>
                </c:pt>
                <c:pt idx="429">
                  <c:v>-1031</c:v>
                </c:pt>
                <c:pt idx="430">
                  <c:v>-1030</c:v>
                </c:pt>
                <c:pt idx="431">
                  <c:v>-1029</c:v>
                </c:pt>
                <c:pt idx="432">
                  <c:v>-1028</c:v>
                </c:pt>
                <c:pt idx="433">
                  <c:v>-1027</c:v>
                </c:pt>
                <c:pt idx="434">
                  <c:v>-1026</c:v>
                </c:pt>
                <c:pt idx="435">
                  <c:v>-1025</c:v>
                </c:pt>
                <c:pt idx="436">
                  <c:v>-1024</c:v>
                </c:pt>
                <c:pt idx="437">
                  <c:v>-1023</c:v>
                </c:pt>
                <c:pt idx="438">
                  <c:v>-1022</c:v>
                </c:pt>
                <c:pt idx="439">
                  <c:v>-1021</c:v>
                </c:pt>
                <c:pt idx="440">
                  <c:v>-1020</c:v>
                </c:pt>
                <c:pt idx="441">
                  <c:v>-1019</c:v>
                </c:pt>
                <c:pt idx="442">
                  <c:v>-1018</c:v>
                </c:pt>
                <c:pt idx="443">
                  <c:v>-1017</c:v>
                </c:pt>
                <c:pt idx="444">
                  <c:v>-1016</c:v>
                </c:pt>
                <c:pt idx="445">
                  <c:v>-1015</c:v>
                </c:pt>
                <c:pt idx="446">
                  <c:v>-1014</c:v>
                </c:pt>
                <c:pt idx="447">
                  <c:v>-1013</c:v>
                </c:pt>
                <c:pt idx="448">
                  <c:v>-1012</c:v>
                </c:pt>
                <c:pt idx="449">
                  <c:v>-1011</c:v>
                </c:pt>
                <c:pt idx="450">
                  <c:v>-1010</c:v>
                </c:pt>
                <c:pt idx="451">
                  <c:v>-1009</c:v>
                </c:pt>
                <c:pt idx="452">
                  <c:v>-1008</c:v>
                </c:pt>
                <c:pt idx="453">
                  <c:v>-1007</c:v>
                </c:pt>
                <c:pt idx="454">
                  <c:v>-1006</c:v>
                </c:pt>
                <c:pt idx="455">
                  <c:v>-1005</c:v>
                </c:pt>
                <c:pt idx="456">
                  <c:v>-1004</c:v>
                </c:pt>
                <c:pt idx="457">
                  <c:v>-1003</c:v>
                </c:pt>
                <c:pt idx="458">
                  <c:v>-1002</c:v>
                </c:pt>
                <c:pt idx="459">
                  <c:v>-1001</c:v>
                </c:pt>
                <c:pt idx="460">
                  <c:v>-1000</c:v>
                </c:pt>
                <c:pt idx="461">
                  <c:v>-999</c:v>
                </c:pt>
                <c:pt idx="462">
                  <c:v>-998</c:v>
                </c:pt>
                <c:pt idx="463">
                  <c:v>-997</c:v>
                </c:pt>
                <c:pt idx="464">
                  <c:v>-996</c:v>
                </c:pt>
                <c:pt idx="465">
                  <c:v>-995</c:v>
                </c:pt>
                <c:pt idx="466">
                  <c:v>-994</c:v>
                </c:pt>
                <c:pt idx="467">
                  <c:v>-993</c:v>
                </c:pt>
                <c:pt idx="468">
                  <c:v>-992</c:v>
                </c:pt>
                <c:pt idx="469">
                  <c:v>-991</c:v>
                </c:pt>
                <c:pt idx="470">
                  <c:v>-990</c:v>
                </c:pt>
                <c:pt idx="471">
                  <c:v>-989</c:v>
                </c:pt>
                <c:pt idx="472">
                  <c:v>-988</c:v>
                </c:pt>
                <c:pt idx="473">
                  <c:v>-987</c:v>
                </c:pt>
                <c:pt idx="474">
                  <c:v>-986</c:v>
                </c:pt>
                <c:pt idx="475">
                  <c:v>-985</c:v>
                </c:pt>
                <c:pt idx="476">
                  <c:v>-984</c:v>
                </c:pt>
                <c:pt idx="477">
                  <c:v>-983</c:v>
                </c:pt>
                <c:pt idx="478">
                  <c:v>-982</c:v>
                </c:pt>
                <c:pt idx="479">
                  <c:v>-981</c:v>
                </c:pt>
                <c:pt idx="480">
                  <c:v>-980</c:v>
                </c:pt>
                <c:pt idx="481">
                  <c:v>-979</c:v>
                </c:pt>
                <c:pt idx="482">
                  <c:v>-978</c:v>
                </c:pt>
                <c:pt idx="483">
                  <c:v>-977</c:v>
                </c:pt>
                <c:pt idx="484">
                  <c:v>-976</c:v>
                </c:pt>
                <c:pt idx="485">
                  <c:v>-975</c:v>
                </c:pt>
                <c:pt idx="486">
                  <c:v>-974</c:v>
                </c:pt>
                <c:pt idx="487">
                  <c:v>-973</c:v>
                </c:pt>
                <c:pt idx="488">
                  <c:v>-972</c:v>
                </c:pt>
                <c:pt idx="489">
                  <c:v>-971</c:v>
                </c:pt>
                <c:pt idx="490">
                  <c:v>-970</c:v>
                </c:pt>
                <c:pt idx="491">
                  <c:v>-969</c:v>
                </c:pt>
                <c:pt idx="492">
                  <c:v>-968</c:v>
                </c:pt>
                <c:pt idx="493">
                  <c:v>-967</c:v>
                </c:pt>
                <c:pt idx="494">
                  <c:v>-966</c:v>
                </c:pt>
                <c:pt idx="495">
                  <c:v>-965</c:v>
                </c:pt>
                <c:pt idx="496">
                  <c:v>-964</c:v>
                </c:pt>
                <c:pt idx="497">
                  <c:v>-963</c:v>
                </c:pt>
                <c:pt idx="498">
                  <c:v>-962</c:v>
                </c:pt>
                <c:pt idx="499">
                  <c:v>-961</c:v>
                </c:pt>
                <c:pt idx="500">
                  <c:v>-960</c:v>
                </c:pt>
                <c:pt idx="501">
                  <c:v>-959</c:v>
                </c:pt>
                <c:pt idx="502">
                  <c:v>-958</c:v>
                </c:pt>
                <c:pt idx="503">
                  <c:v>-957</c:v>
                </c:pt>
                <c:pt idx="504">
                  <c:v>-956</c:v>
                </c:pt>
                <c:pt idx="505">
                  <c:v>-955</c:v>
                </c:pt>
                <c:pt idx="506">
                  <c:v>-954</c:v>
                </c:pt>
                <c:pt idx="507">
                  <c:v>-953</c:v>
                </c:pt>
                <c:pt idx="508">
                  <c:v>-952</c:v>
                </c:pt>
                <c:pt idx="509">
                  <c:v>-951</c:v>
                </c:pt>
                <c:pt idx="510">
                  <c:v>-950</c:v>
                </c:pt>
                <c:pt idx="511">
                  <c:v>-949</c:v>
                </c:pt>
                <c:pt idx="512">
                  <c:v>-948</c:v>
                </c:pt>
                <c:pt idx="513">
                  <c:v>-947</c:v>
                </c:pt>
                <c:pt idx="514">
                  <c:v>-946</c:v>
                </c:pt>
                <c:pt idx="515">
                  <c:v>-945</c:v>
                </c:pt>
                <c:pt idx="516">
                  <c:v>-944</c:v>
                </c:pt>
                <c:pt idx="517">
                  <c:v>-943</c:v>
                </c:pt>
                <c:pt idx="518">
                  <c:v>-942</c:v>
                </c:pt>
                <c:pt idx="519">
                  <c:v>-941</c:v>
                </c:pt>
                <c:pt idx="520">
                  <c:v>-940</c:v>
                </c:pt>
                <c:pt idx="521">
                  <c:v>-939</c:v>
                </c:pt>
                <c:pt idx="522">
                  <c:v>-938</c:v>
                </c:pt>
                <c:pt idx="523">
                  <c:v>-937</c:v>
                </c:pt>
                <c:pt idx="524">
                  <c:v>-936</c:v>
                </c:pt>
                <c:pt idx="525">
                  <c:v>-935</c:v>
                </c:pt>
                <c:pt idx="526">
                  <c:v>-934</c:v>
                </c:pt>
                <c:pt idx="527">
                  <c:v>-933</c:v>
                </c:pt>
                <c:pt idx="528">
                  <c:v>-932</c:v>
                </c:pt>
                <c:pt idx="529">
                  <c:v>-931</c:v>
                </c:pt>
                <c:pt idx="530">
                  <c:v>-930</c:v>
                </c:pt>
                <c:pt idx="531">
                  <c:v>-929</c:v>
                </c:pt>
                <c:pt idx="532">
                  <c:v>-928</c:v>
                </c:pt>
                <c:pt idx="533">
                  <c:v>-927</c:v>
                </c:pt>
                <c:pt idx="534">
                  <c:v>-926</c:v>
                </c:pt>
                <c:pt idx="535">
                  <c:v>-925</c:v>
                </c:pt>
                <c:pt idx="536">
                  <c:v>-924</c:v>
                </c:pt>
                <c:pt idx="537">
                  <c:v>-923</c:v>
                </c:pt>
                <c:pt idx="538">
                  <c:v>-922</c:v>
                </c:pt>
                <c:pt idx="539">
                  <c:v>-921</c:v>
                </c:pt>
                <c:pt idx="540">
                  <c:v>-920</c:v>
                </c:pt>
                <c:pt idx="541">
                  <c:v>-919</c:v>
                </c:pt>
                <c:pt idx="542">
                  <c:v>-918</c:v>
                </c:pt>
                <c:pt idx="543">
                  <c:v>-917</c:v>
                </c:pt>
                <c:pt idx="544">
                  <c:v>-916</c:v>
                </c:pt>
                <c:pt idx="545">
                  <c:v>-915</c:v>
                </c:pt>
                <c:pt idx="546">
                  <c:v>-914</c:v>
                </c:pt>
                <c:pt idx="547">
                  <c:v>-913</c:v>
                </c:pt>
                <c:pt idx="548">
                  <c:v>-912</c:v>
                </c:pt>
                <c:pt idx="549">
                  <c:v>-911</c:v>
                </c:pt>
                <c:pt idx="550">
                  <c:v>-910</c:v>
                </c:pt>
                <c:pt idx="551">
                  <c:v>-909</c:v>
                </c:pt>
                <c:pt idx="552">
                  <c:v>-908</c:v>
                </c:pt>
                <c:pt idx="553">
                  <c:v>-907</c:v>
                </c:pt>
                <c:pt idx="554">
                  <c:v>-906</c:v>
                </c:pt>
                <c:pt idx="555">
                  <c:v>-905</c:v>
                </c:pt>
                <c:pt idx="556">
                  <c:v>-904</c:v>
                </c:pt>
                <c:pt idx="557">
                  <c:v>-903</c:v>
                </c:pt>
                <c:pt idx="558">
                  <c:v>-902</c:v>
                </c:pt>
                <c:pt idx="559">
                  <c:v>-901</c:v>
                </c:pt>
                <c:pt idx="560">
                  <c:v>-900</c:v>
                </c:pt>
                <c:pt idx="561">
                  <c:v>-899</c:v>
                </c:pt>
                <c:pt idx="562">
                  <c:v>-898</c:v>
                </c:pt>
                <c:pt idx="563">
                  <c:v>-897</c:v>
                </c:pt>
                <c:pt idx="564">
                  <c:v>-896</c:v>
                </c:pt>
                <c:pt idx="565">
                  <c:v>-895</c:v>
                </c:pt>
                <c:pt idx="566">
                  <c:v>-894</c:v>
                </c:pt>
                <c:pt idx="567">
                  <c:v>-893</c:v>
                </c:pt>
                <c:pt idx="568">
                  <c:v>-892</c:v>
                </c:pt>
                <c:pt idx="569">
                  <c:v>-891</c:v>
                </c:pt>
                <c:pt idx="570">
                  <c:v>-890</c:v>
                </c:pt>
                <c:pt idx="571">
                  <c:v>-889</c:v>
                </c:pt>
                <c:pt idx="572">
                  <c:v>-888</c:v>
                </c:pt>
                <c:pt idx="573">
                  <c:v>-887</c:v>
                </c:pt>
                <c:pt idx="574">
                  <c:v>-886</c:v>
                </c:pt>
                <c:pt idx="575">
                  <c:v>-885</c:v>
                </c:pt>
                <c:pt idx="576">
                  <c:v>-884</c:v>
                </c:pt>
                <c:pt idx="577">
                  <c:v>-883</c:v>
                </c:pt>
                <c:pt idx="578">
                  <c:v>-882</c:v>
                </c:pt>
                <c:pt idx="579">
                  <c:v>-881</c:v>
                </c:pt>
                <c:pt idx="580">
                  <c:v>-880</c:v>
                </c:pt>
                <c:pt idx="581">
                  <c:v>-879</c:v>
                </c:pt>
                <c:pt idx="582">
                  <c:v>-878</c:v>
                </c:pt>
                <c:pt idx="583">
                  <c:v>-877</c:v>
                </c:pt>
                <c:pt idx="584">
                  <c:v>-876</c:v>
                </c:pt>
                <c:pt idx="585">
                  <c:v>-875</c:v>
                </c:pt>
                <c:pt idx="586">
                  <c:v>-874</c:v>
                </c:pt>
                <c:pt idx="587">
                  <c:v>-873</c:v>
                </c:pt>
                <c:pt idx="588">
                  <c:v>-872</c:v>
                </c:pt>
                <c:pt idx="589">
                  <c:v>-871</c:v>
                </c:pt>
                <c:pt idx="590">
                  <c:v>-870</c:v>
                </c:pt>
                <c:pt idx="591">
                  <c:v>-869</c:v>
                </c:pt>
                <c:pt idx="592">
                  <c:v>-868</c:v>
                </c:pt>
                <c:pt idx="593">
                  <c:v>-867</c:v>
                </c:pt>
                <c:pt idx="594">
                  <c:v>-866</c:v>
                </c:pt>
                <c:pt idx="595">
                  <c:v>-865</c:v>
                </c:pt>
                <c:pt idx="596">
                  <c:v>-864</c:v>
                </c:pt>
                <c:pt idx="597">
                  <c:v>-863</c:v>
                </c:pt>
                <c:pt idx="598">
                  <c:v>-862</c:v>
                </c:pt>
                <c:pt idx="599">
                  <c:v>-861</c:v>
                </c:pt>
                <c:pt idx="600">
                  <c:v>-860</c:v>
                </c:pt>
                <c:pt idx="601">
                  <c:v>-859</c:v>
                </c:pt>
                <c:pt idx="602">
                  <c:v>-858</c:v>
                </c:pt>
                <c:pt idx="603">
                  <c:v>-857</c:v>
                </c:pt>
                <c:pt idx="604">
                  <c:v>-856</c:v>
                </c:pt>
                <c:pt idx="605">
                  <c:v>-855</c:v>
                </c:pt>
                <c:pt idx="606">
                  <c:v>-854</c:v>
                </c:pt>
                <c:pt idx="607">
                  <c:v>-853</c:v>
                </c:pt>
                <c:pt idx="608">
                  <c:v>-852</c:v>
                </c:pt>
                <c:pt idx="609">
                  <c:v>-851</c:v>
                </c:pt>
                <c:pt idx="610">
                  <c:v>-850</c:v>
                </c:pt>
                <c:pt idx="611">
                  <c:v>-849</c:v>
                </c:pt>
                <c:pt idx="612">
                  <c:v>-848</c:v>
                </c:pt>
                <c:pt idx="613">
                  <c:v>-847</c:v>
                </c:pt>
                <c:pt idx="614">
                  <c:v>-846</c:v>
                </c:pt>
                <c:pt idx="615">
                  <c:v>-845</c:v>
                </c:pt>
                <c:pt idx="616">
                  <c:v>-844</c:v>
                </c:pt>
                <c:pt idx="617">
                  <c:v>-843</c:v>
                </c:pt>
                <c:pt idx="618">
                  <c:v>-842</c:v>
                </c:pt>
                <c:pt idx="619">
                  <c:v>-841</c:v>
                </c:pt>
                <c:pt idx="620">
                  <c:v>-840</c:v>
                </c:pt>
                <c:pt idx="621">
                  <c:v>-839</c:v>
                </c:pt>
                <c:pt idx="622">
                  <c:v>-838</c:v>
                </c:pt>
                <c:pt idx="623">
                  <c:v>-837</c:v>
                </c:pt>
                <c:pt idx="624">
                  <c:v>-836</c:v>
                </c:pt>
                <c:pt idx="625">
                  <c:v>-835</c:v>
                </c:pt>
                <c:pt idx="626">
                  <c:v>-834</c:v>
                </c:pt>
                <c:pt idx="627">
                  <c:v>-833</c:v>
                </c:pt>
                <c:pt idx="628">
                  <c:v>-832</c:v>
                </c:pt>
                <c:pt idx="629">
                  <c:v>-831</c:v>
                </c:pt>
                <c:pt idx="630">
                  <c:v>-830</c:v>
                </c:pt>
                <c:pt idx="631">
                  <c:v>-829</c:v>
                </c:pt>
                <c:pt idx="632">
                  <c:v>-828</c:v>
                </c:pt>
                <c:pt idx="633">
                  <c:v>-827</c:v>
                </c:pt>
                <c:pt idx="634">
                  <c:v>-826</c:v>
                </c:pt>
                <c:pt idx="635">
                  <c:v>-825</c:v>
                </c:pt>
                <c:pt idx="636">
                  <c:v>-824</c:v>
                </c:pt>
                <c:pt idx="637">
                  <c:v>-823</c:v>
                </c:pt>
                <c:pt idx="638">
                  <c:v>-822</c:v>
                </c:pt>
                <c:pt idx="639">
                  <c:v>-821</c:v>
                </c:pt>
                <c:pt idx="640">
                  <c:v>-820</c:v>
                </c:pt>
                <c:pt idx="641">
                  <c:v>-819</c:v>
                </c:pt>
                <c:pt idx="642">
                  <c:v>-818</c:v>
                </c:pt>
                <c:pt idx="643">
                  <c:v>-817</c:v>
                </c:pt>
                <c:pt idx="644">
                  <c:v>-816</c:v>
                </c:pt>
                <c:pt idx="645">
                  <c:v>-815</c:v>
                </c:pt>
                <c:pt idx="646">
                  <c:v>-814</c:v>
                </c:pt>
                <c:pt idx="647">
                  <c:v>-813</c:v>
                </c:pt>
                <c:pt idx="648">
                  <c:v>-812</c:v>
                </c:pt>
                <c:pt idx="649">
                  <c:v>-811</c:v>
                </c:pt>
                <c:pt idx="650">
                  <c:v>-810</c:v>
                </c:pt>
                <c:pt idx="651">
                  <c:v>-809</c:v>
                </c:pt>
                <c:pt idx="652">
                  <c:v>-808</c:v>
                </c:pt>
                <c:pt idx="653">
                  <c:v>-807</c:v>
                </c:pt>
                <c:pt idx="654">
                  <c:v>-806</c:v>
                </c:pt>
                <c:pt idx="655">
                  <c:v>-805</c:v>
                </c:pt>
                <c:pt idx="656">
                  <c:v>-804</c:v>
                </c:pt>
                <c:pt idx="657">
                  <c:v>-803</c:v>
                </c:pt>
                <c:pt idx="658">
                  <c:v>-802</c:v>
                </c:pt>
                <c:pt idx="659">
                  <c:v>-801</c:v>
                </c:pt>
                <c:pt idx="660">
                  <c:v>-800</c:v>
                </c:pt>
                <c:pt idx="661">
                  <c:v>-799</c:v>
                </c:pt>
                <c:pt idx="662">
                  <c:v>-798</c:v>
                </c:pt>
                <c:pt idx="663">
                  <c:v>-797</c:v>
                </c:pt>
                <c:pt idx="664">
                  <c:v>-796</c:v>
                </c:pt>
                <c:pt idx="665">
                  <c:v>-795</c:v>
                </c:pt>
                <c:pt idx="666">
                  <c:v>-794</c:v>
                </c:pt>
                <c:pt idx="667">
                  <c:v>-793</c:v>
                </c:pt>
                <c:pt idx="668">
                  <c:v>-792</c:v>
                </c:pt>
                <c:pt idx="669">
                  <c:v>-791</c:v>
                </c:pt>
                <c:pt idx="670">
                  <c:v>-790</c:v>
                </c:pt>
                <c:pt idx="671">
                  <c:v>-789</c:v>
                </c:pt>
                <c:pt idx="672">
                  <c:v>-788</c:v>
                </c:pt>
                <c:pt idx="673">
                  <c:v>-787</c:v>
                </c:pt>
                <c:pt idx="674">
                  <c:v>-786</c:v>
                </c:pt>
                <c:pt idx="675">
                  <c:v>-785</c:v>
                </c:pt>
                <c:pt idx="676">
                  <c:v>-784</c:v>
                </c:pt>
                <c:pt idx="677">
                  <c:v>-783</c:v>
                </c:pt>
                <c:pt idx="678">
                  <c:v>-782</c:v>
                </c:pt>
                <c:pt idx="679">
                  <c:v>-781</c:v>
                </c:pt>
                <c:pt idx="680">
                  <c:v>-780</c:v>
                </c:pt>
                <c:pt idx="681">
                  <c:v>-779</c:v>
                </c:pt>
                <c:pt idx="682">
                  <c:v>-778</c:v>
                </c:pt>
                <c:pt idx="683">
                  <c:v>-777</c:v>
                </c:pt>
                <c:pt idx="684">
                  <c:v>-776</c:v>
                </c:pt>
                <c:pt idx="685">
                  <c:v>-775</c:v>
                </c:pt>
                <c:pt idx="686">
                  <c:v>-774</c:v>
                </c:pt>
                <c:pt idx="687">
                  <c:v>-773</c:v>
                </c:pt>
                <c:pt idx="688">
                  <c:v>-772</c:v>
                </c:pt>
                <c:pt idx="689">
                  <c:v>-771</c:v>
                </c:pt>
                <c:pt idx="690">
                  <c:v>-770</c:v>
                </c:pt>
                <c:pt idx="691">
                  <c:v>-769</c:v>
                </c:pt>
                <c:pt idx="692">
                  <c:v>-768</c:v>
                </c:pt>
                <c:pt idx="693">
                  <c:v>-767</c:v>
                </c:pt>
                <c:pt idx="694">
                  <c:v>-766</c:v>
                </c:pt>
                <c:pt idx="695">
                  <c:v>-765</c:v>
                </c:pt>
                <c:pt idx="696">
                  <c:v>-764</c:v>
                </c:pt>
                <c:pt idx="697">
                  <c:v>-763</c:v>
                </c:pt>
                <c:pt idx="698">
                  <c:v>-762</c:v>
                </c:pt>
                <c:pt idx="699">
                  <c:v>-761</c:v>
                </c:pt>
                <c:pt idx="700">
                  <c:v>-760</c:v>
                </c:pt>
                <c:pt idx="701">
                  <c:v>-759</c:v>
                </c:pt>
                <c:pt idx="702">
                  <c:v>-758</c:v>
                </c:pt>
                <c:pt idx="703">
                  <c:v>-757</c:v>
                </c:pt>
                <c:pt idx="704">
                  <c:v>-756</c:v>
                </c:pt>
                <c:pt idx="705">
                  <c:v>-755</c:v>
                </c:pt>
                <c:pt idx="706">
                  <c:v>-754</c:v>
                </c:pt>
                <c:pt idx="707">
                  <c:v>-753</c:v>
                </c:pt>
                <c:pt idx="708">
                  <c:v>-752</c:v>
                </c:pt>
                <c:pt idx="709">
                  <c:v>-751</c:v>
                </c:pt>
                <c:pt idx="710">
                  <c:v>-750</c:v>
                </c:pt>
                <c:pt idx="711">
                  <c:v>-749</c:v>
                </c:pt>
                <c:pt idx="712">
                  <c:v>-748</c:v>
                </c:pt>
                <c:pt idx="713">
                  <c:v>-747</c:v>
                </c:pt>
                <c:pt idx="714">
                  <c:v>-746</c:v>
                </c:pt>
                <c:pt idx="715">
                  <c:v>-745</c:v>
                </c:pt>
                <c:pt idx="716">
                  <c:v>-744</c:v>
                </c:pt>
                <c:pt idx="717">
                  <c:v>-743</c:v>
                </c:pt>
                <c:pt idx="718">
                  <c:v>-742</c:v>
                </c:pt>
                <c:pt idx="719">
                  <c:v>-741</c:v>
                </c:pt>
                <c:pt idx="720">
                  <c:v>-740</c:v>
                </c:pt>
                <c:pt idx="721">
                  <c:v>-739</c:v>
                </c:pt>
                <c:pt idx="722">
                  <c:v>-738</c:v>
                </c:pt>
                <c:pt idx="723">
                  <c:v>-737</c:v>
                </c:pt>
                <c:pt idx="724">
                  <c:v>-736</c:v>
                </c:pt>
                <c:pt idx="725">
                  <c:v>-735</c:v>
                </c:pt>
                <c:pt idx="726">
                  <c:v>-734</c:v>
                </c:pt>
                <c:pt idx="727">
                  <c:v>-733</c:v>
                </c:pt>
                <c:pt idx="728">
                  <c:v>-732</c:v>
                </c:pt>
                <c:pt idx="729">
                  <c:v>-731</c:v>
                </c:pt>
                <c:pt idx="730">
                  <c:v>-730</c:v>
                </c:pt>
                <c:pt idx="731">
                  <c:v>-729</c:v>
                </c:pt>
                <c:pt idx="732">
                  <c:v>-728</c:v>
                </c:pt>
                <c:pt idx="733">
                  <c:v>-727</c:v>
                </c:pt>
                <c:pt idx="734">
                  <c:v>-726</c:v>
                </c:pt>
                <c:pt idx="735">
                  <c:v>-725</c:v>
                </c:pt>
                <c:pt idx="736">
                  <c:v>-724</c:v>
                </c:pt>
                <c:pt idx="737">
                  <c:v>-723</c:v>
                </c:pt>
                <c:pt idx="738">
                  <c:v>-722</c:v>
                </c:pt>
                <c:pt idx="739">
                  <c:v>-721</c:v>
                </c:pt>
                <c:pt idx="740">
                  <c:v>-720</c:v>
                </c:pt>
                <c:pt idx="741">
                  <c:v>-719</c:v>
                </c:pt>
                <c:pt idx="742">
                  <c:v>-718</c:v>
                </c:pt>
                <c:pt idx="743">
                  <c:v>-717</c:v>
                </c:pt>
                <c:pt idx="744">
                  <c:v>-716</c:v>
                </c:pt>
                <c:pt idx="745">
                  <c:v>-715</c:v>
                </c:pt>
                <c:pt idx="746">
                  <c:v>-714</c:v>
                </c:pt>
                <c:pt idx="747">
                  <c:v>-713</c:v>
                </c:pt>
                <c:pt idx="748">
                  <c:v>-712</c:v>
                </c:pt>
                <c:pt idx="749">
                  <c:v>-711</c:v>
                </c:pt>
                <c:pt idx="750">
                  <c:v>-710</c:v>
                </c:pt>
                <c:pt idx="751">
                  <c:v>-709</c:v>
                </c:pt>
                <c:pt idx="752">
                  <c:v>-708</c:v>
                </c:pt>
                <c:pt idx="753">
                  <c:v>-707</c:v>
                </c:pt>
                <c:pt idx="754">
                  <c:v>-706</c:v>
                </c:pt>
                <c:pt idx="755">
                  <c:v>-705</c:v>
                </c:pt>
                <c:pt idx="756">
                  <c:v>-704</c:v>
                </c:pt>
                <c:pt idx="757">
                  <c:v>-703</c:v>
                </c:pt>
                <c:pt idx="758">
                  <c:v>-702</c:v>
                </c:pt>
                <c:pt idx="759">
                  <c:v>-701</c:v>
                </c:pt>
                <c:pt idx="760">
                  <c:v>-700</c:v>
                </c:pt>
                <c:pt idx="761">
                  <c:v>-699</c:v>
                </c:pt>
                <c:pt idx="762">
                  <c:v>-698</c:v>
                </c:pt>
                <c:pt idx="763">
                  <c:v>-697</c:v>
                </c:pt>
                <c:pt idx="764">
                  <c:v>-696</c:v>
                </c:pt>
                <c:pt idx="765">
                  <c:v>-695</c:v>
                </c:pt>
                <c:pt idx="766">
                  <c:v>-694</c:v>
                </c:pt>
                <c:pt idx="767">
                  <c:v>-693</c:v>
                </c:pt>
                <c:pt idx="768">
                  <c:v>-692</c:v>
                </c:pt>
                <c:pt idx="769">
                  <c:v>-691</c:v>
                </c:pt>
                <c:pt idx="770">
                  <c:v>-690</c:v>
                </c:pt>
                <c:pt idx="771">
                  <c:v>-689</c:v>
                </c:pt>
                <c:pt idx="772">
                  <c:v>-688</c:v>
                </c:pt>
                <c:pt idx="773">
                  <c:v>-687</c:v>
                </c:pt>
                <c:pt idx="774">
                  <c:v>-686</c:v>
                </c:pt>
                <c:pt idx="775">
                  <c:v>-685</c:v>
                </c:pt>
                <c:pt idx="776">
                  <c:v>-684</c:v>
                </c:pt>
                <c:pt idx="777">
                  <c:v>-683</c:v>
                </c:pt>
                <c:pt idx="778">
                  <c:v>-682</c:v>
                </c:pt>
                <c:pt idx="779">
                  <c:v>-681</c:v>
                </c:pt>
                <c:pt idx="780">
                  <c:v>-680</c:v>
                </c:pt>
                <c:pt idx="781">
                  <c:v>-679</c:v>
                </c:pt>
                <c:pt idx="782">
                  <c:v>-678</c:v>
                </c:pt>
                <c:pt idx="783">
                  <c:v>-677</c:v>
                </c:pt>
                <c:pt idx="784">
                  <c:v>-676</c:v>
                </c:pt>
                <c:pt idx="785">
                  <c:v>-675</c:v>
                </c:pt>
                <c:pt idx="786">
                  <c:v>-674</c:v>
                </c:pt>
                <c:pt idx="787">
                  <c:v>-673</c:v>
                </c:pt>
                <c:pt idx="788">
                  <c:v>-672</c:v>
                </c:pt>
                <c:pt idx="789">
                  <c:v>-671</c:v>
                </c:pt>
                <c:pt idx="790">
                  <c:v>-670</c:v>
                </c:pt>
                <c:pt idx="791">
                  <c:v>-669</c:v>
                </c:pt>
                <c:pt idx="792">
                  <c:v>-668</c:v>
                </c:pt>
                <c:pt idx="793">
                  <c:v>-667</c:v>
                </c:pt>
                <c:pt idx="794">
                  <c:v>-666</c:v>
                </c:pt>
                <c:pt idx="795">
                  <c:v>-665</c:v>
                </c:pt>
                <c:pt idx="796">
                  <c:v>-664</c:v>
                </c:pt>
                <c:pt idx="797">
                  <c:v>-663</c:v>
                </c:pt>
                <c:pt idx="798">
                  <c:v>-662</c:v>
                </c:pt>
                <c:pt idx="799">
                  <c:v>-661</c:v>
                </c:pt>
                <c:pt idx="800">
                  <c:v>-660</c:v>
                </c:pt>
                <c:pt idx="801">
                  <c:v>-659</c:v>
                </c:pt>
                <c:pt idx="802">
                  <c:v>-658</c:v>
                </c:pt>
                <c:pt idx="803">
                  <c:v>-657</c:v>
                </c:pt>
                <c:pt idx="804">
                  <c:v>-656</c:v>
                </c:pt>
                <c:pt idx="805">
                  <c:v>-655</c:v>
                </c:pt>
                <c:pt idx="806">
                  <c:v>-654</c:v>
                </c:pt>
                <c:pt idx="807">
                  <c:v>-653</c:v>
                </c:pt>
                <c:pt idx="808">
                  <c:v>-652</c:v>
                </c:pt>
                <c:pt idx="809">
                  <c:v>-651</c:v>
                </c:pt>
                <c:pt idx="810">
                  <c:v>-650</c:v>
                </c:pt>
                <c:pt idx="811">
                  <c:v>-649</c:v>
                </c:pt>
                <c:pt idx="812">
                  <c:v>-648</c:v>
                </c:pt>
                <c:pt idx="813">
                  <c:v>-647</c:v>
                </c:pt>
                <c:pt idx="814">
                  <c:v>-646</c:v>
                </c:pt>
                <c:pt idx="815">
                  <c:v>-645</c:v>
                </c:pt>
                <c:pt idx="816">
                  <c:v>-644</c:v>
                </c:pt>
                <c:pt idx="817">
                  <c:v>-643</c:v>
                </c:pt>
                <c:pt idx="818">
                  <c:v>-642</c:v>
                </c:pt>
                <c:pt idx="819">
                  <c:v>-641</c:v>
                </c:pt>
                <c:pt idx="820">
                  <c:v>-640</c:v>
                </c:pt>
                <c:pt idx="821">
                  <c:v>-639</c:v>
                </c:pt>
                <c:pt idx="822">
                  <c:v>-638</c:v>
                </c:pt>
                <c:pt idx="823">
                  <c:v>-637</c:v>
                </c:pt>
                <c:pt idx="824">
                  <c:v>-636</c:v>
                </c:pt>
                <c:pt idx="825">
                  <c:v>-635</c:v>
                </c:pt>
                <c:pt idx="826">
                  <c:v>-634</c:v>
                </c:pt>
                <c:pt idx="827">
                  <c:v>-633</c:v>
                </c:pt>
                <c:pt idx="828">
                  <c:v>-632</c:v>
                </c:pt>
                <c:pt idx="829">
                  <c:v>-631</c:v>
                </c:pt>
                <c:pt idx="830">
                  <c:v>-630</c:v>
                </c:pt>
                <c:pt idx="831">
                  <c:v>-629</c:v>
                </c:pt>
                <c:pt idx="832">
                  <c:v>-628</c:v>
                </c:pt>
                <c:pt idx="833">
                  <c:v>-627</c:v>
                </c:pt>
                <c:pt idx="834">
                  <c:v>-626</c:v>
                </c:pt>
                <c:pt idx="835">
                  <c:v>-625</c:v>
                </c:pt>
                <c:pt idx="836">
                  <c:v>-624</c:v>
                </c:pt>
                <c:pt idx="837">
                  <c:v>-623</c:v>
                </c:pt>
                <c:pt idx="838">
                  <c:v>-622</c:v>
                </c:pt>
                <c:pt idx="839">
                  <c:v>-621</c:v>
                </c:pt>
                <c:pt idx="840">
                  <c:v>-620</c:v>
                </c:pt>
                <c:pt idx="841">
                  <c:v>-619</c:v>
                </c:pt>
                <c:pt idx="842">
                  <c:v>-618</c:v>
                </c:pt>
                <c:pt idx="843">
                  <c:v>-617</c:v>
                </c:pt>
                <c:pt idx="844">
                  <c:v>-616</c:v>
                </c:pt>
                <c:pt idx="845">
                  <c:v>-615</c:v>
                </c:pt>
                <c:pt idx="846">
                  <c:v>-614</c:v>
                </c:pt>
                <c:pt idx="847">
                  <c:v>-613</c:v>
                </c:pt>
                <c:pt idx="848">
                  <c:v>-612</c:v>
                </c:pt>
                <c:pt idx="849">
                  <c:v>-611</c:v>
                </c:pt>
                <c:pt idx="850">
                  <c:v>-610</c:v>
                </c:pt>
                <c:pt idx="851">
                  <c:v>-609</c:v>
                </c:pt>
                <c:pt idx="852">
                  <c:v>-608</c:v>
                </c:pt>
                <c:pt idx="853">
                  <c:v>-607</c:v>
                </c:pt>
                <c:pt idx="854">
                  <c:v>-606</c:v>
                </c:pt>
                <c:pt idx="855">
                  <c:v>-605</c:v>
                </c:pt>
                <c:pt idx="856">
                  <c:v>-604</c:v>
                </c:pt>
                <c:pt idx="857">
                  <c:v>-603</c:v>
                </c:pt>
                <c:pt idx="858">
                  <c:v>-602</c:v>
                </c:pt>
                <c:pt idx="859">
                  <c:v>-601</c:v>
                </c:pt>
                <c:pt idx="860">
                  <c:v>-600</c:v>
                </c:pt>
                <c:pt idx="861">
                  <c:v>-599</c:v>
                </c:pt>
                <c:pt idx="862">
                  <c:v>-598</c:v>
                </c:pt>
                <c:pt idx="863">
                  <c:v>-597</c:v>
                </c:pt>
                <c:pt idx="864">
                  <c:v>-596</c:v>
                </c:pt>
                <c:pt idx="865">
                  <c:v>-595</c:v>
                </c:pt>
                <c:pt idx="866">
                  <c:v>-594</c:v>
                </c:pt>
                <c:pt idx="867">
                  <c:v>-593</c:v>
                </c:pt>
                <c:pt idx="868">
                  <c:v>-592</c:v>
                </c:pt>
                <c:pt idx="869">
                  <c:v>-591</c:v>
                </c:pt>
                <c:pt idx="870">
                  <c:v>-590</c:v>
                </c:pt>
                <c:pt idx="871">
                  <c:v>-589</c:v>
                </c:pt>
                <c:pt idx="872">
                  <c:v>-588</c:v>
                </c:pt>
                <c:pt idx="873">
                  <c:v>-587</c:v>
                </c:pt>
                <c:pt idx="874">
                  <c:v>-586</c:v>
                </c:pt>
                <c:pt idx="875">
                  <c:v>-585</c:v>
                </c:pt>
                <c:pt idx="876">
                  <c:v>-584</c:v>
                </c:pt>
                <c:pt idx="877">
                  <c:v>-583</c:v>
                </c:pt>
                <c:pt idx="878">
                  <c:v>-582</c:v>
                </c:pt>
                <c:pt idx="879">
                  <c:v>-581</c:v>
                </c:pt>
                <c:pt idx="880">
                  <c:v>-580</c:v>
                </c:pt>
                <c:pt idx="881">
                  <c:v>-579</c:v>
                </c:pt>
                <c:pt idx="882">
                  <c:v>-578</c:v>
                </c:pt>
                <c:pt idx="883">
                  <c:v>-577</c:v>
                </c:pt>
                <c:pt idx="884">
                  <c:v>-576</c:v>
                </c:pt>
                <c:pt idx="885">
                  <c:v>-575</c:v>
                </c:pt>
                <c:pt idx="886">
                  <c:v>-574</c:v>
                </c:pt>
                <c:pt idx="887">
                  <c:v>-573</c:v>
                </c:pt>
                <c:pt idx="888">
                  <c:v>-572</c:v>
                </c:pt>
                <c:pt idx="889">
                  <c:v>-571</c:v>
                </c:pt>
                <c:pt idx="890">
                  <c:v>-570</c:v>
                </c:pt>
                <c:pt idx="891">
                  <c:v>-569</c:v>
                </c:pt>
                <c:pt idx="892">
                  <c:v>-568</c:v>
                </c:pt>
                <c:pt idx="893">
                  <c:v>-567</c:v>
                </c:pt>
                <c:pt idx="894">
                  <c:v>-566</c:v>
                </c:pt>
                <c:pt idx="895">
                  <c:v>-565</c:v>
                </c:pt>
                <c:pt idx="896">
                  <c:v>-564</c:v>
                </c:pt>
                <c:pt idx="897">
                  <c:v>-563</c:v>
                </c:pt>
                <c:pt idx="898">
                  <c:v>-562</c:v>
                </c:pt>
                <c:pt idx="899">
                  <c:v>-561</c:v>
                </c:pt>
                <c:pt idx="900">
                  <c:v>-560</c:v>
                </c:pt>
                <c:pt idx="901">
                  <c:v>-559</c:v>
                </c:pt>
                <c:pt idx="902">
                  <c:v>-558</c:v>
                </c:pt>
                <c:pt idx="903">
                  <c:v>-557</c:v>
                </c:pt>
                <c:pt idx="904">
                  <c:v>-556</c:v>
                </c:pt>
                <c:pt idx="905">
                  <c:v>-555</c:v>
                </c:pt>
                <c:pt idx="906">
                  <c:v>-554</c:v>
                </c:pt>
                <c:pt idx="907">
                  <c:v>-553</c:v>
                </c:pt>
                <c:pt idx="908">
                  <c:v>-552</c:v>
                </c:pt>
                <c:pt idx="909">
                  <c:v>-551</c:v>
                </c:pt>
                <c:pt idx="910">
                  <c:v>-550</c:v>
                </c:pt>
                <c:pt idx="911">
                  <c:v>-549</c:v>
                </c:pt>
                <c:pt idx="912">
                  <c:v>-548</c:v>
                </c:pt>
                <c:pt idx="913">
                  <c:v>-547</c:v>
                </c:pt>
                <c:pt idx="914">
                  <c:v>-546</c:v>
                </c:pt>
                <c:pt idx="915">
                  <c:v>-545</c:v>
                </c:pt>
                <c:pt idx="916">
                  <c:v>-544</c:v>
                </c:pt>
                <c:pt idx="917">
                  <c:v>-543</c:v>
                </c:pt>
                <c:pt idx="918">
                  <c:v>-542</c:v>
                </c:pt>
                <c:pt idx="919">
                  <c:v>-541</c:v>
                </c:pt>
                <c:pt idx="920">
                  <c:v>-540</c:v>
                </c:pt>
                <c:pt idx="921">
                  <c:v>-539</c:v>
                </c:pt>
                <c:pt idx="922">
                  <c:v>-538</c:v>
                </c:pt>
                <c:pt idx="923">
                  <c:v>-537</c:v>
                </c:pt>
                <c:pt idx="924">
                  <c:v>-536</c:v>
                </c:pt>
                <c:pt idx="925">
                  <c:v>-535</c:v>
                </c:pt>
                <c:pt idx="926">
                  <c:v>-534</c:v>
                </c:pt>
                <c:pt idx="927">
                  <c:v>-533</c:v>
                </c:pt>
                <c:pt idx="928">
                  <c:v>-532</c:v>
                </c:pt>
                <c:pt idx="929">
                  <c:v>-531</c:v>
                </c:pt>
                <c:pt idx="930">
                  <c:v>-530</c:v>
                </c:pt>
                <c:pt idx="931">
                  <c:v>-529</c:v>
                </c:pt>
                <c:pt idx="932">
                  <c:v>-528</c:v>
                </c:pt>
                <c:pt idx="933">
                  <c:v>-527</c:v>
                </c:pt>
                <c:pt idx="934">
                  <c:v>-526</c:v>
                </c:pt>
                <c:pt idx="935">
                  <c:v>-525</c:v>
                </c:pt>
                <c:pt idx="936">
                  <c:v>-524</c:v>
                </c:pt>
                <c:pt idx="937">
                  <c:v>-523</c:v>
                </c:pt>
                <c:pt idx="938">
                  <c:v>-522</c:v>
                </c:pt>
                <c:pt idx="939">
                  <c:v>-521</c:v>
                </c:pt>
                <c:pt idx="940">
                  <c:v>-520</c:v>
                </c:pt>
                <c:pt idx="941">
                  <c:v>-519</c:v>
                </c:pt>
                <c:pt idx="942">
                  <c:v>-518</c:v>
                </c:pt>
                <c:pt idx="943">
                  <c:v>-517</c:v>
                </c:pt>
                <c:pt idx="944">
                  <c:v>-516</c:v>
                </c:pt>
                <c:pt idx="945">
                  <c:v>-515</c:v>
                </c:pt>
                <c:pt idx="946">
                  <c:v>-514</c:v>
                </c:pt>
                <c:pt idx="947">
                  <c:v>-513</c:v>
                </c:pt>
                <c:pt idx="948">
                  <c:v>-512</c:v>
                </c:pt>
                <c:pt idx="949">
                  <c:v>-511</c:v>
                </c:pt>
                <c:pt idx="950">
                  <c:v>-510</c:v>
                </c:pt>
                <c:pt idx="951">
                  <c:v>-509</c:v>
                </c:pt>
                <c:pt idx="952">
                  <c:v>-508</c:v>
                </c:pt>
                <c:pt idx="953">
                  <c:v>-507</c:v>
                </c:pt>
                <c:pt idx="954">
                  <c:v>-506</c:v>
                </c:pt>
                <c:pt idx="955">
                  <c:v>-505</c:v>
                </c:pt>
                <c:pt idx="956">
                  <c:v>-504</c:v>
                </c:pt>
                <c:pt idx="957">
                  <c:v>-503</c:v>
                </c:pt>
                <c:pt idx="958">
                  <c:v>-502</c:v>
                </c:pt>
                <c:pt idx="959">
                  <c:v>-501</c:v>
                </c:pt>
                <c:pt idx="960">
                  <c:v>-500</c:v>
                </c:pt>
                <c:pt idx="961">
                  <c:v>-499</c:v>
                </c:pt>
                <c:pt idx="962">
                  <c:v>-498</c:v>
                </c:pt>
                <c:pt idx="963">
                  <c:v>-497</c:v>
                </c:pt>
                <c:pt idx="964">
                  <c:v>-496</c:v>
                </c:pt>
                <c:pt idx="965">
                  <c:v>-495</c:v>
                </c:pt>
                <c:pt idx="966">
                  <c:v>-494</c:v>
                </c:pt>
                <c:pt idx="967">
                  <c:v>-493</c:v>
                </c:pt>
                <c:pt idx="968">
                  <c:v>-492</c:v>
                </c:pt>
                <c:pt idx="969">
                  <c:v>-491</c:v>
                </c:pt>
                <c:pt idx="970">
                  <c:v>-490</c:v>
                </c:pt>
                <c:pt idx="971">
                  <c:v>-489</c:v>
                </c:pt>
                <c:pt idx="972">
                  <c:v>-488</c:v>
                </c:pt>
                <c:pt idx="973">
                  <c:v>-487</c:v>
                </c:pt>
                <c:pt idx="974">
                  <c:v>-486</c:v>
                </c:pt>
                <c:pt idx="975">
                  <c:v>-485</c:v>
                </c:pt>
                <c:pt idx="976">
                  <c:v>-484</c:v>
                </c:pt>
                <c:pt idx="977">
                  <c:v>-483</c:v>
                </c:pt>
                <c:pt idx="978">
                  <c:v>-482</c:v>
                </c:pt>
                <c:pt idx="979">
                  <c:v>-481</c:v>
                </c:pt>
                <c:pt idx="980">
                  <c:v>-480</c:v>
                </c:pt>
                <c:pt idx="981">
                  <c:v>-479</c:v>
                </c:pt>
                <c:pt idx="982">
                  <c:v>-478</c:v>
                </c:pt>
                <c:pt idx="983">
                  <c:v>-477</c:v>
                </c:pt>
                <c:pt idx="984">
                  <c:v>-476</c:v>
                </c:pt>
                <c:pt idx="985">
                  <c:v>-475</c:v>
                </c:pt>
                <c:pt idx="986">
                  <c:v>-474</c:v>
                </c:pt>
                <c:pt idx="987">
                  <c:v>-473</c:v>
                </c:pt>
                <c:pt idx="988">
                  <c:v>-472</c:v>
                </c:pt>
                <c:pt idx="989">
                  <c:v>-471</c:v>
                </c:pt>
                <c:pt idx="990">
                  <c:v>-470</c:v>
                </c:pt>
                <c:pt idx="991">
                  <c:v>-469</c:v>
                </c:pt>
                <c:pt idx="992">
                  <c:v>-468</c:v>
                </c:pt>
                <c:pt idx="993">
                  <c:v>-467</c:v>
                </c:pt>
                <c:pt idx="994">
                  <c:v>-466</c:v>
                </c:pt>
                <c:pt idx="995">
                  <c:v>-465</c:v>
                </c:pt>
                <c:pt idx="996">
                  <c:v>-464</c:v>
                </c:pt>
                <c:pt idx="997">
                  <c:v>-463</c:v>
                </c:pt>
                <c:pt idx="998">
                  <c:v>-462</c:v>
                </c:pt>
                <c:pt idx="999">
                  <c:v>-461</c:v>
                </c:pt>
                <c:pt idx="1000">
                  <c:v>-460</c:v>
                </c:pt>
                <c:pt idx="1001">
                  <c:v>-459</c:v>
                </c:pt>
                <c:pt idx="1002">
                  <c:v>-458</c:v>
                </c:pt>
                <c:pt idx="1003">
                  <c:v>-457</c:v>
                </c:pt>
                <c:pt idx="1004">
                  <c:v>-456</c:v>
                </c:pt>
                <c:pt idx="1005">
                  <c:v>-455</c:v>
                </c:pt>
                <c:pt idx="1006">
                  <c:v>-454</c:v>
                </c:pt>
                <c:pt idx="1007">
                  <c:v>-453</c:v>
                </c:pt>
                <c:pt idx="1008">
                  <c:v>-452</c:v>
                </c:pt>
                <c:pt idx="1009">
                  <c:v>-451</c:v>
                </c:pt>
                <c:pt idx="1010">
                  <c:v>-450</c:v>
                </c:pt>
                <c:pt idx="1011">
                  <c:v>-449</c:v>
                </c:pt>
                <c:pt idx="1012">
                  <c:v>-448</c:v>
                </c:pt>
                <c:pt idx="1013">
                  <c:v>-447</c:v>
                </c:pt>
                <c:pt idx="1014">
                  <c:v>-446</c:v>
                </c:pt>
                <c:pt idx="1015">
                  <c:v>-445</c:v>
                </c:pt>
                <c:pt idx="1016">
                  <c:v>-444</c:v>
                </c:pt>
                <c:pt idx="1017">
                  <c:v>-443</c:v>
                </c:pt>
                <c:pt idx="1018">
                  <c:v>-442</c:v>
                </c:pt>
                <c:pt idx="1019">
                  <c:v>-441</c:v>
                </c:pt>
                <c:pt idx="1020">
                  <c:v>-440</c:v>
                </c:pt>
                <c:pt idx="1021">
                  <c:v>-439</c:v>
                </c:pt>
                <c:pt idx="1022">
                  <c:v>-438</c:v>
                </c:pt>
                <c:pt idx="1023">
                  <c:v>-437</c:v>
                </c:pt>
                <c:pt idx="1024">
                  <c:v>-436</c:v>
                </c:pt>
                <c:pt idx="1025">
                  <c:v>-435</c:v>
                </c:pt>
                <c:pt idx="1026">
                  <c:v>-434</c:v>
                </c:pt>
                <c:pt idx="1027">
                  <c:v>-433</c:v>
                </c:pt>
                <c:pt idx="1028">
                  <c:v>-432</c:v>
                </c:pt>
                <c:pt idx="1029">
                  <c:v>-431</c:v>
                </c:pt>
                <c:pt idx="1030">
                  <c:v>-430</c:v>
                </c:pt>
                <c:pt idx="1031">
                  <c:v>-429</c:v>
                </c:pt>
                <c:pt idx="1032">
                  <c:v>-428</c:v>
                </c:pt>
                <c:pt idx="1033">
                  <c:v>-427</c:v>
                </c:pt>
                <c:pt idx="1034">
                  <c:v>-426</c:v>
                </c:pt>
                <c:pt idx="1035">
                  <c:v>-425</c:v>
                </c:pt>
                <c:pt idx="1036">
                  <c:v>-424</c:v>
                </c:pt>
                <c:pt idx="1037">
                  <c:v>-423</c:v>
                </c:pt>
                <c:pt idx="1038">
                  <c:v>-422</c:v>
                </c:pt>
                <c:pt idx="1039">
                  <c:v>-421</c:v>
                </c:pt>
                <c:pt idx="1040">
                  <c:v>-420</c:v>
                </c:pt>
                <c:pt idx="1041">
                  <c:v>-419</c:v>
                </c:pt>
                <c:pt idx="1042">
                  <c:v>-418</c:v>
                </c:pt>
                <c:pt idx="1043">
                  <c:v>-417</c:v>
                </c:pt>
                <c:pt idx="1044">
                  <c:v>-416</c:v>
                </c:pt>
                <c:pt idx="1045">
                  <c:v>-415</c:v>
                </c:pt>
                <c:pt idx="1046">
                  <c:v>-414</c:v>
                </c:pt>
                <c:pt idx="1047">
                  <c:v>-413</c:v>
                </c:pt>
                <c:pt idx="1048">
                  <c:v>-412</c:v>
                </c:pt>
                <c:pt idx="1049">
                  <c:v>-411</c:v>
                </c:pt>
                <c:pt idx="1050">
                  <c:v>-410</c:v>
                </c:pt>
                <c:pt idx="1051">
                  <c:v>-409</c:v>
                </c:pt>
                <c:pt idx="1052">
                  <c:v>-408</c:v>
                </c:pt>
                <c:pt idx="1053">
                  <c:v>-407</c:v>
                </c:pt>
                <c:pt idx="1054">
                  <c:v>-406</c:v>
                </c:pt>
                <c:pt idx="1055">
                  <c:v>-405</c:v>
                </c:pt>
                <c:pt idx="1056">
                  <c:v>-404</c:v>
                </c:pt>
                <c:pt idx="1057">
                  <c:v>-403</c:v>
                </c:pt>
                <c:pt idx="1058">
                  <c:v>-402</c:v>
                </c:pt>
                <c:pt idx="1059">
                  <c:v>-401</c:v>
                </c:pt>
                <c:pt idx="1060">
                  <c:v>-400</c:v>
                </c:pt>
                <c:pt idx="1061">
                  <c:v>-399</c:v>
                </c:pt>
                <c:pt idx="1062">
                  <c:v>-398</c:v>
                </c:pt>
                <c:pt idx="1063">
                  <c:v>-397</c:v>
                </c:pt>
                <c:pt idx="1064">
                  <c:v>-396</c:v>
                </c:pt>
                <c:pt idx="1065">
                  <c:v>-395</c:v>
                </c:pt>
                <c:pt idx="1066">
                  <c:v>-394</c:v>
                </c:pt>
                <c:pt idx="1067">
                  <c:v>-393</c:v>
                </c:pt>
                <c:pt idx="1068">
                  <c:v>-392</c:v>
                </c:pt>
                <c:pt idx="1069">
                  <c:v>-391</c:v>
                </c:pt>
                <c:pt idx="1070">
                  <c:v>-390</c:v>
                </c:pt>
                <c:pt idx="1071">
                  <c:v>-389</c:v>
                </c:pt>
                <c:pt idx="1072">
                  <c:v>-388</c:v>
                </c:pt>
                <c:pt idx="1073">
                  <c:v>-387</c:v>
                </c:pt>
                <c:pt idx="1074">
                  <c:v>-386</c:v>
                </c:pt>
                <c:pt idx="1075">
                  <c:v>-385</c:v>
                </c:pt>
                <c:pt idx="1076">
                  <c:v>-384</c:v>
                </c:pt>
                <c:pt idx="1077">
                  <c:v>-383</c:v>
                </c:pt>
                <c:pt idx="1078">
                  <c:v>-382</c:v>
                </c:pt>
                <c:pt idx="1079">
                  <c:v>-381</c:v>
                </c:pt>
                <c:pt idx="1080">
                  <c:v>-380</c:v>
                </c:pt>
                <c:pt idx="1081">
                  <c:v>-379</c:v>
                </c:pt>
                <c:pt idx="1082">
                  <c:v>-378</c:v>
                </c:pt>
                <c:pt idx="1083">
                  <c:v>-377</c:v>
                </c:pt>
                <c:pt idx="1084">
                  <c:v>-376</c:v>
                </c:pt>
                <c:pt idx="1085">
                  <c:v>-375</c:v>
                </c:pt>
                <c:pt idx="1086">
                  <c:v>-374</c:v>
                </c:pt>
                <c:pt idx="1087">
                  <c:v>-373</c:v>
                </c:pt>
                <c:pt idx="1088">
                  <c:v>-372</c:v>
                </c:pt>
                <c:pt idx="1089">
                  <c:v>-371</c:v>
                </c:pt>
                <c:pt idx="1090">
                  <c:v>-370</c:v>
                </c:pt>
                <c:pt idx="1091">
                  <c:v>-369</c:v>
                </c:pt>
                <c:pt idx="1092">
                  <c:v>-368</c:v>
                </c:pt>
                <c:pt idx="1093">
                  <c:v>-367</c:v>
                </c:pt>
                <c:pt idx="1094">
                  <c:v>-366</c:v>
                </c:pt>
                <c:pt idx="1095">
                  <c:v>-365</c:v>
                </c:pt>
                <c:pt idx="1096">
                  <c:v>-364</c:v>
                </c:pt>
                <c:pt idx="1097">
                  <c:v>-363</c:v>
                </c:pt>
                <c:pt idx="1098">
                  <c:v>-362</c:v>
                </c:pt>
                <c:pt idx="1099">
                  <c:v>-361</c:v>
                </c:pt>
                <c:pt idx="1100">
                  <c:v>-360</c:v>
                </c:pt>
                <c:pt idx="1101">
                  <c:v>-359</c:v>
                </c:pt>
                <c:pt idx="1102">
                  <c:v>-358</c:v>
                </c:pt>
                <c:pt idx="1103">
                  <c:v>-357</c:v>
                </c:pt>
                <c:pt idx="1104">
                  <c:v>-356</c:v>
                </c:pt>
                <c:pt idx="1105">
                  <c:v>-355</c:v>
                </c:pt>
                <c:pt idx="1106">
                  <c:v>-354</c:v>
                </c:pt>
                <c:pt idx="1107">
                  <c:v>-353</c:v>
                </c:pt>
                <c:pt idx="1108">
                  <c:v>-352</c:v>
                </c:pt>
                <c:pt idx="1109">
                  <c:v>-351</c:v>
                </c:pt>
                <c:pt idx="1110">
                  <c:v>-350</c:v>
                </c:pt>
                <c:pt idx="1111">
                  <c:v>-349</c:v>
                </c:pt>
                <c:pt idx="1112">
                  <c:v>-348</c:v>
                </c:pt>
                <c:pt idx="1113">
                  <c:v>-347</c:v>
                </c:pt>
                <c:pt idx="1114">
                  <c:v>-346</c:v>
                </c:pt>
                <c:pt idx="1115">
                  <c:v>-345</c:v>
                </c:pt>
                <c:pt idx="1116">
                  <c:v>-344</c:v>
                </c:pt>
                <c:pt idx="1117">
                  <c:v>-343</c:v>
                </c:pt>
                <c:pt idx="1118">
                  <c:v>-342</c:v>
                </c:pt>
                <c:pt idx="1119">
                  <c:v>-341</c:v>
                </c:pt>
                <c:pt idx="1120">
                  <c:v>-340</c:v>
                </c:pt>
                <c:pt idx="1121">
                  <c:v>-339</c:v>
                </c:pt>
                <c:pt idx="1122">
                  <c:v>-338</c:v>
                </c:pt>
                <c:pt idx="1123">
                  <c:v>-337</c:v>
                </c:pt>
                <c:pt idx="1124">
                  <c:v>-336</c:v>
                </c:pt>
                <c:pt idx="1125">
                  <c:v>-335</c:v>
                </c:pt>
                <c:pt idx="1126">
                  <c:v>-334</c:v>
                </c:pt>
                <c:pt idx="1127">
                  <c:v>-333</c:v>
                </c:pt>
                <c:pt idx="1128">
                  <c:v>-332</c:v>
                </c:pt>
                <c:pt idx="1129">
                  <c:v>-331</c:v>
                </c:pt>
                <c:pt idx="1130">
                  <c:v>-330</c:v>
                </c:pt>
                <c:pt idx="1131">
                  <c:v>-329</c:v>
                </c:pt>
                <c:pt idx="1132">
                  <c:v>-328</c:v>
                </c:pt>
                <c:pt idx="1133">
                  <c:v>-327</c:v>
                </c:pt>
                <c:pt idx="1134">
                  <c:v>-326</c:v>
                </c:pt>
                <c:pt idx="1135">
                  <c:v>-325</c:v>
                </c:pt>
                <c:pt idx="1136">
                  <c:v>-324</c:v>
                </c:pt>
                <c:pt idx="1137">
                  <c:v>-323</c:v>
                </c:pt>
                <c:pt idx="1138">
                  <c:v>-322</c:v>
                </c:pt>
                <c:pt idx="1139">
                  <c:v>-321</c:v>
                </c:pt>
                <c:pt idx="1140">
                  <c:v>-320</c:v>
                </c:pt>
                <c:pt idx="1141">
                  <c:v>-319</c:v>
                </c:pt>
                <c:pt idx="1142">
                  <c:v>-318</c:v>
                </c:pt>
                <c:pt idx="1143">
                  <c:v>-317</c:v>
                </c:pt>
                <c:pt idx="1144">
                  <c:v>-316</c:v>
                </c:pt>
                <c:pt idx="1145">
                  <c:v>-315</c:v>
                </c:pt>
                <c:pt idx="1146">
                  <c:v>-314</c:v>
                </c:pt>
                <c:pt idx="1147">
                  <c:v>-313</c:v>
                </c:pt>
                <c:pt idx="1148">
                  <c:v>-312</c:v>
                </c:pt>
                <c:pt idx="1149">
                  <c:v>-311</c:v>
                </c:pt>
                <c:pt idx="1150">
                  <c:v>-310</c:v>
                </c:pt>
                <c:pt idx="1151">
                  <c:v>-309</c:v>
                </c:pt>
                <c:pt idx="1152">
                  <c:v>-308</c:v>
                </c:pt>
                <c:pt idx="1153">
                  <c:v>-307</c:v>
                </c:pt>
                <c:pt idx="1154">
                  <c:v>-306</c:v>
                </c:pt>
                <c:pt idx="1155">
                  <c:v>-305</c:v>
                </c:pt>
                <c:pt idx="1156">
                  <c:v>-304</c:v>
                </c:pt>
                <c:pt idx="1157">
                  <c:v>-303</c:v>
                </c:pt>
                <c:pt idx="1158">
                  <c:v>-302</c:v>
                </c:pt>
                <c:pt idx="1159">
                  <c:v>-301</c:v>
                </c:pt>
                <c:pt idx="1160">
                  <c:v>-300</c:v>
                </c:pt>
                <c:pt idx="1161">
                  <c:v>-299</c:v>
                </c:pt>
                <c:pt idx="1162">
                  <c:v>-298</c:v>
                </c:pt>
                <c:pt idx="1163">
                  <c:v>-297</c:v>
                </c:pt>
                <c:pt idx="1164">
                  <c:v>-296</c:v>
                </c:pt>
                <c:pt idx="1165">
                  <c:v>-295</c:v>
                </c:pt>
                <c:pt idx="1166">
                  <c:v>-294</c:v>
                </c:pt>
                <c:pt idx="1167">
                  <c:v>-293</c:v>
                </c:pt>
                <c:pt idx="1168">
                  <c:v>-292</c:v>
                </c:pt>
                <c:pt idx="1169">
                  <c:v>-291</c:v>
                </c:pt>
                <c:pt idx="1170">
                  <c:v>-290</c:v>
                </c:pt>
                <c:pt idx="1171">
                  <c:v>-289</c:v>
                </c:pt>
                <c:pt idx="1172">
                  <c:v>-288</c:v>
                </c:pt>
                <c:pt idx="1173">
                  <c:v>-287</c:v>
                </c:pt>
                <c:pt idx="1174">
                  <c:v>-286</c:v>
                </c:pt>
                <c:pt idx="1175">
                  <c:v>-285</c:v>
                </c:pt>
                <c:pt idx="1176">
                  <c:v>-284</c:v>
                </c:pt>
                <c:pt idx="1177">
                  <c:v>-283</c:v>
                </c:pt>
                <c:pt idx="1178">
                  <c:v>-282</c:v>
                </c:pt>
                <c:pt idx="1179">
                  <c:v>-281</c:v>
                </c:pt>
                <c:pt idx="1180">
                  <c:v>-280</c:v>
                </c:pt>
                <c:pt idx="1181">
                  <c:v>-279</c:v>
                </c:pt>
                <c:pt idx="1182">
                  <c:v>-278</c:v>
                </c:pt>
                <c:pt idx="1183">
                  <c:v>-277</c:v>
                </c:pt>
                <c:pt idx="1184">
                  <c:v>-276</c:v>
                </c:pt>
                <c:pt idx="1185">
                  <c:v>-275</c:v>
                </c:pt>
                <c:pt idx="1186">
                  <c:v>-274</c:v>
                </c:pt>
                <c:pt idx="1187">
                  <c:v>-273</c:v>
                </c:pt>
                <c:pt idx="1188">
                  <c:v>-272</c:v>
                </c:pt>
                <c:pt idx="1189">
                  <c:v>-271</c:v>
                </c:pt>
                <c:pt idx="1190">
                  <c:v>-270</c:v>
                </c:pt>
                <c:pt idx="1191">
                  <c:v>-269</c:v>
                </c:pt>
                <c:pt idx="1192">
                  <c:v>-268</c:v>
                </c:pt>
                <c:pt idx="1193">
                  <c:v>-267</c:v>
                </c:pt>
                <c:pt idx="1194">
                  <c:v>-266</c:v>
                </c:pt>
                <c:pt idx="1195">
                  <c:v>-265</c:v>
                </c:pt>
                <c:pt idx="1196">
                  <c:v>-264</c:v>
                </c:pt>
                <c:pt idx="1197">
                  <c:v>-263</c:v>
                </c:pt>
                <c:pt idx="1198">
                  <c:v>-262</c:v>
                </c:pt>
                <c:pt idx="1199">
                  <c:v>-261</c:v>
                </c:pt>
                <c:pt idx="1200">
                  <c:v>-260</c:v>
                </c:pt>
                <c:pt idx="1201">
                  <c:v>-259</c:v>
                </c:pt>
                <c:pt idx="1202">
                  <c:v>-258</c:v>
                </c:pt>
                <c:pt idx="1203">
                  <c:v>-257</c:v>
                </c:pt>
                <c:pt idx="1204">
                  <c:v>-256</c:v>
                </c:pt>
                <c:pt idx="1205">
                  <c:v>-255</c:v>
                </c:pt>
                <c:pt idx="1206">
                  <c:v>-254</c:v>
                </c:pt>
                <c:pt idx="1207">
                  <c:v>-253</c:v>
                </c:pt>
                <c:pt idx="1208">
                  <c:v>-252</c:v>
                </c:pt>
                <c:pt idx="1209">
                  <c:v>-251</c:v>
                </c:pt>
                <c:pt idx="1210">
                  <c:v>-250</c:v>
                </c:pt>
                <c:pt idx="1211">
                  <c:v>-249</c:v>
                </c:pt>
                <c:pt idx="1212">
                  <c:v>-248</c:v>
                </c:pt>
                <c:pt idx="1213">
                  <c:v>-247</c:v>
                </c:pt>
                <c:pt idx="1214">
                  <c:v>-246</c:v>
                </c:pt>
                <c:pt idx="1215">
                  <c:v>-245</c:v>
                </c:pt>
                <c:pt idx="1216">
                  <c:v>-244</c:v>
                </c:pt>
                <c:pt idx="1217">
                  <c:v>-243</c:v>
                </c:pt>
                <c:pt idx="1218">
                  <c:v>-242</c:v>
                </c:pt>
                <c:pt idx="1219">
                  <c:v>-241</c:v>
                </c:pt>
                <c:pt idx="1220">
                  <c:v>-240</c:v>
                </c:pt>
                <c:pt idx="1221">
                  <c:v>-239</c:v>
                </c:pt>
                <c:pt idx="1222">
                  <c:v>-238</c:v>
                </c:pt>
                <c:pt idx="1223">
                  <c:v>-237</c:v>
                </c:pt>
                <c:pt idx="1224">
                  <c:v>-236</c:v>
                </c:pt>
                <c:pt idx="1225">
                  <c:v>-235</c:v>
                </c:pt>
                <c:pt idx="1226">
                  <c:v>-234</c:v>
                </c:pt>
                <c:pt idx="1227">
                  <c:v>-233</c:v>
                </c:pt>
                <c:pt idx="1228">
                  <c:v>-232</c:v>
                </c:pt>
                <c:pt idx="1229">
                  <c:v>-231</c:v>
                </c:pt>
                <c:pt idx="1230">
                  <c:v>-230</c:v>
                </c:pt>
                <c:pt idx="1231">
                  <c:v>-229</c:v>
                </c:pt>
                <c:pt idx="1232">
                  <c:v>-228</c:v>
                </c:pt>
                <c:pt idx="1233">
                  <c:v>-227</c:v>
                </c:pt>
                <c:pt idx="1234">
                  <c:v>-226</c:v>
                </c:pt>
                <c:pt idx="1235">
                  <c:v>-225</c:v>
                </c:pt>
                <c:pt idx="1236">
                  <c:v>-224</c:v>
                </c:pt>
                <c:pt idx="1237">
                  <c:v>-223</c:v>
                </c:pt>
                <c:pt idx="1238">
                  <c:v>-222</c:v>
                </c:pt>
                <c:pt idx="1239">
                  <c:v>-221</c:v>
                </c:pt>
                <c:pt idx="1240">
                  <c:v>-220</c:v>
                </c:pt>
                <c:pt idx="1241">
                  <c:v>-219</c:v>
                </c:pt>
                <c:pt idx="1242">
                  <c:v>-218</c:v>
                </c:pt>
                <c:pt idx="1243">
                  <c:v>-217</c:v>
                </c:pt>
                <c:pt idx="1244">
                  <c:v>-216</c:v>
                </c:pt>
                <c:pt idx="1245">
                  <c:v>-215</c:v>
                </c:pt>
                <c:pt idx="1246">
                  <c:v>-214</c:v>
                </c:pt>
                <c:pt idx="1247">
                  <c:v>-213</c:v>
                </c:pt>
                <c:pt idx="1248">
                  <c:v>-212</c:v>
                </c:pt>
                <c:pt idx="1249">
                  <c:v>-211</c:v>
                </c:pt>
                <c:pt idx="1250">
                  <c:v>-210</c:v>
                </c:pt>
                <c:pt idx="1251">
                  <c:v>-209</c:v>
                </c:pt>
                <c:pt idx="1252">
                  <c:v>-208</c:v>
                </c:pt>
                <c:pt idx="1253">
                  <c:v>-207</c:v>
                </c:pt>
                <c:pt idx="1254">
                  <c:v>-206</c:v>
                </c:pt>
                <c:pt idx="1255">
                  <c:v>-205</c:v>
                </c:pt>
                <c:pt idx="1256">
                  <c:v>-204</c:v>
                </c:pt>
                <c:pt idx="1257">
                  <c:v>-203</c:v>
                </c:pt>
                <c:pt idx="1258">
                  <c:v>-202</c:v>
                </c:pt>
                <c:pt idx="1259">
                  <c:v>-201</c:v>
                </c:pt>
                <c:pt idx="1260">
                  <c:v>-200</c:v>
                </c:pt>
                <c:pt idx="1261">
                  <c:v>-199</c:v>
                </c:pt>
                <c:pt idx="1262">
                  <c:v>-198</c:v>
                </c:pt>
                <c:pt idx="1263">
                  <c:v>-197</c:v>
                </c:pt>
                <c:pt idx="1264">
                  <c:v>-196</c:v>
                </c:pt>
                <c:pt idx="1265">
                  <c:v>-195</c:v>
                </c:pt>
                <c:pt idx="1266">
                  <c:v>-194</c:v>
                </c:pt>
                <c:pt idx="1267">
                  <c:v>-193</c:v>
                </c:pt>
                <c:pt idx="1268">
                  <c:v>-192</c:v>
                </c:pt>
                <c:pt idx="1269">
                  <c:v>-191</c:v>
                </c:pt>
                <c:pt idx="1270">
                  <c:v>-190</c:v>
                </c:pt>
                <c:pt idx="1271">
                  <c:v>-189</c:v>
                </c:pt>
                <c:pt idx="1272">
                  <c:v>-188</c:v>
                </c:pt>
                <c:pt idx="1273">
                  <c:v>-187</c:v>
                </c:pt>
                <c:pt idx="1274">
                  <c:v>-186</c:v>
                </c:pt>
                <c:pt idx="1275">
                  <c:v>-185</c:v>
                </c:pt>
                <c:pt idx="1276">
                  <c:v>-184</c:v>
                </c:pt>
                <c:pt idx="1277">
                  <c:v>-183</c:v>
                </c:pt>
                <c:pt idx="1278">
                  <c:v>-182</c:v>
                </c:pt>
                <c:pt idx="1279">
                  <c:v>-181</c:v>
                </c:pt>
                <c:pt idx="1280">
                  <c:v>-180</c:v>
                </c:pt>
                <c:pt idx="1281">
                  <c:v>-179</c:v>
                </c:pt>
                <c:pt idx="1282">
                  <c:v>-178</c:v>
                </c:pt>
                <c:pt idx="1283">
                  <c:v>-177</c:v>
                </c:pt>
                <c:pt idx="1284">
                  <c:v>-176</c:v>
                </c:pt>
                <c:pt idx="1285">
                  <c:v>-175</c:v>
                </c:pt>
                <c:pt idx="1286">
                  <c:v>-174</c:v>
                </c:pt>
                <c:pt idx="1287">
                  <c:v>-173</c:v>
                </c:pt>
                <c:pt idx="1288">
                  <c:v>-172</c:v>
                </c:pt>
                <c:pt idx="1289">
                  <c:v>-171</c:v>
                </c:pt>
                <c:pt idx="1290">
                  <c:v>-170</c:v>
                </c:pt>
                <c:pt idx="1291">
                  <c:v>-169</c:v>
                </c:pt>
                <c:pt idx="1292">
                  <c:v>-168</c:v>
                </c:pt>
                <c:pt idx="1293">
                  <c:v>-167</c:v>
                </c:pt>
                <c:pt idx="1294">
                  <c:v>-166</c:v>
                </c:pt>
                <c:pt idx="1295">
                  <c:v>-165</c:v>
                </c:pt>
                <c:pt idx="1296">
                  <c:v>-164</c:v>
                </c:pt>
                <c:pt idx="1297">
                  <c:v>-163</c:v>
                </c:pt>
                <c:pt idx="1298">
                  <c:v>-162</c:v>
                </c:pt>
                <c:pt idx="1299">
                  <c:v>-161</c:v>
                </c:pt>
                <c:pt idx="1300">
                  <c:v>-160</c:v>
                </c:pt>
                <c:pt idx="1301">
                  <c:v>-159</c:v>
                </c:pt>
                <c:pt idx="1302">
                  <c:v>-158</c:v>
                </c:pt>
                <c:pt idx="1303">
                  <c:v>-157</c:v>
                </c:pt>
                <c:pt idx="1304">
                  <c:v>-156</c:v>
                </c:pt>
                <c:pt idx="1305">
                  <c:v>-155</c:v>
                </c:pt>
                <c:pt idx="1306">
                  <c:v>-154</c:v>
                </c:pt>
                <c:pt idx="1307">
                  <c:v>-153</c:v>
                </c:pt>
                <c:pt idx="1308">
                  <c:v>-152</c:v>
                </c:pt>
                <c:pt idx="1309">
                  <c:v>-151</c:v>
                </c:pt>
                <c:pt idx="1310">
                  <c:v>-150</c:v>
                </c:pt>
                <c:pt idx="1311">
                  <c:v>-149</c:v>
                </c:pt>
                <c:pt idx="1312">
                  <c:v>-148</c:v>
                </c:pt>
                <c:pt idx="1313">
                  <c:v>-147</c:v>
                </c:pt>
                <c:pt idx="1314">
                  <c:v>-146</c:v>
                </c:pt>
                <c:pt idx="1315">
                  <c:v>-145</c:v>
                </c:pt>
                <c:pt idx="1316">
                  <c:v>-144</c:v>
                </c:pt>
                <c:pt idx="1317">
                  <c:v>-143</c:v>
                </c:pt>
                <c:pt idx="1318">
                  <c:v>-142</c:v>
                </c:pt>
                <c:pt idx="1319">
                  <c:v>-141</c:v>
                </c:pt>
                <c:pt idx="1320">
                  <c:v>-140</c:v>
                </c:pt>
                <c:pt idx="1321">
                  <c:v>-139</c:v>
                </c:pt>
                <c:pt idx="1322">
                  <c:v>-138</c:v>
                </c:pt>
                <c:pt idx="1323">
                  <c:v>-137</c:v>
                </c:pt>
                <c:pt idx="1324">
                  <c:v>-136</c:v>
                </c:pt>
                <c:pt idx="1325">
                  <c:v>-135</c:v>
                </c:pt>
                <c:pt idx="1326">
                  <c:v>-134</c:v>
                </c:pt>
                <c:pt idx="1327">
                  <c:v>-133</c:v>
                </c:pt>
                <c:pt idx="1328">
                  <c:v>-132</c:v>
                </c:pt>
                <c:pt idx="1329">
                  <c:v>-131</c:v>
                </c:pt>
                <c:pt idx="1330">
                  <c:v>-130</c:v>
                </c:pt>
                <c:pt idx="1331">
                  <c:v>-129</c:v>
                </c:pt>
                <c:pt idx="1332">
                  <c:v>-128</c:v>
                </c:pt>
                <c:pt idx="1333">
                  <c:v>-127</c:v>
                </c:pt>
                <c:pt idx="1334">
                  <c:v>-126</c:v>
                </c:pt>
                <c:pt idx="1335">
                  <c:v>-125</c:v>
                </c:pt>
                <c:pt idx="1336">
                  <c:v>-124</c:v>
                </c:pt>
                <c:pt idx="1337">
                  <c:v>-123</c:v>
                </c:pt>
                <c:pt idx="1338">
                  <c:v>-122</c:v>
                </c:pt>
                <c:pt idx="1339">
                  <c:v>-121</c:v>
                </c:pt>
                <c:pt idx="1340">
                  <c:v>-120</c:v>
                </c:pt>
                <c:pt idx="1341">
                  <c:v>-119</c:v>
                </c:pt>
                <c:pt idx="1342">
                  <c:v>-118</c:v>
                </c:pt>
                <c:pt idx="1343">
                  <c:v>-117</c:v>
                </c:pt>
                <c:pt idx="1344">
                  <c:v>-116</c:v>
                </c:pt>
                <c:pt idx="1345">
                  <c:v>-115</c:v>
                </c:pt>
                <c:pt idx="1346">
                  <c:v>-114</c:v>
                </c:pt>
                <c:pt idx="1347">
                  <c:v>-113</c:v>
                </c:pt>
                <c:pt idx="1348">
                  <c:v>-112</c:v>
                </c:pt>
                <c:pt idx="1349">
                  <c:v>-111</c:v>
                </c:pt>
                <c:pt idx="1350">
                  <c:v>-110</c:v>
                </c:pt>
                <c:pt idx="1351">
                  <c:v>-109</c:v>
                </c:pt>
                <c:pt idx="1352">
                  <c:v>-108</c:v>
                </c:pt>
                <c:pt idx="1353">
                  <c:v>-107</c:v>
                </c:pt>
                <c:pt idx="1354">
                  <c:v>-106</c:v>
                </c:pt>
                <c:pt idx="1355">
                  <c:v>-105</c:v>
                </c:pt>
                <c:pt idx="1356">
                  <c:v>-104</c:v>
                </c:pt>
                <c:pt idx="1357">
                  <c:v>-103</c:v>
                </c:pt>
                <c:pt idx="1358">
                  <c:v>-102</c:v>
                </c:pt>
                <c:pt idx="1359">
                  <c:v>-101</c:v>
                </c:pt>
                <c:pt idx="1360">
                  <c:v>-100</c:v>
                </c:pt>
                <c:pt idx="1361">
                  <c:v>-99</c:v>
                </c:pt>
                <c:pt idx="1362">
                  <c:v>-98</c:v>
                </c:pt>
                <c:pt idx="1363">
                  <c:v>-97</c:v>
                </c:pt>
                <c:pt idx="1364">
                  <c:v>-96</c:v>
                </c:pt>
                <c:pt idx="1365">
                  <c:v>-95</c:v>
                </c:pt>
                <c:pt idx="1366">
                  <c:v>-94</c:v>
                </c:pt>
                <c:pt idx="1367">
                  <c:v>-93</c:v>
                </c:pt>
                <c:pt idx="1368">
                  <c:v>-92</c:v>
                </c:pt>
                <c:pt idx="1369">
                  <c:v>-91</c:v>
                </c:pt>
                <c:pt idx="1370">
                  <c:v>-90</c:v>
                </c:pt>
                <c:pt idx="1371">
                  <c:v>-89</c:v>
                </c:pt>
                <c:pt idx="1372">
                  <c:v>-88</c:v>
                </c:pt>
                <c:pt idx="1373">
                  <c:v>-87</c:v>
                </c:pt>
                <c:pt idx="1374">
                  <c:v>-86</c:v>
                </c:pt>
                <c:pt idx="1375">
                  <c:v>-85</c:v>
                </c:pt>
                <c:pt idx="1376">
                  <c:v>-84</c:v>
                </c:pt>
                <c:pt idx="1377">
                  <c:v>-83</c:v>
                </c:pt>
                <c:pt idx="1378">
                  <c:v>-82</c:v>
                </c:pt>
                <c:pt idx="1379">
                  <c:v>-81</c:v>
                </c:pt>
                <c:pt idx="1380">
                  <c:v>-80</c:v>
                </c:pt>
                <c:pt idx="1381">
                  <c:v>-79</c:v>
                </c:pt>
                <c:pt idx="1382">
                  <c:v>-78</c:v>
                </c:pt>
                <c:pt idx="1383">
                  <c:v>-77</c:v>
                </c:pt>
                <c:pt idx="1384">
                  <c:v>-76</c:v>
                </c:pt>
                <c:pt idx="1385">
                  <c:v>-75</c:v>
                </c:pt>
                <c:pt idx="1386">
                  <c:v>-74</c:v>
                </c:pt>
                <c:pt idx="1387">
                  <c:v>-73</c:v>
                </c:pt>
                <c:pt idx="1388">
                  <c:v>-72</c:v>
                </c:pt>
                <c:pt idx="1389">
                  <c:v>-71</c:v>
                </c:pt>
                <c:pt idx="1390">
                  <c:v>-70</c:v>
                </c:pt>
                <c:pt idx="1391">
                  <c:v>-69</c:v>
                </c:pt>
                <c:pt idx="1392">
                  <c:v>-68</c:v>
                </c:pt>
                <c:pt idx="1393">
                  <c:v>-67</c:v>
                </c:pt>
                <c:pt idx="1394">
                  <c:v>-66</c:v>
                </c:pt>
                <c:pt idx="1395">
                  <c:v>-65</c:v>
                </c:pt>
                <c:pt idx="1396">
                  <c:v>-64</c:v>
                </c:pt>
                <c:pt idx="1397">
                  <c:v>-63</c:v>
                </c:pt>
                <c:pt idx="1398">
                  <c:v>-62</c:v>
                </c:pt>
                <c:pt idx="1399">
                  <c:v>-61</c:v>
                </c:pt>
                <c:pt idx="1400">
                  <c:v>-60</c:v>
                </c:pt>
                <c:pt idx="1401">
                  <c:v>-59</c:v>
                </c:pt>
                <c:pt idx="1402">
                  <c:v>-58</c:v>
                </c:pt>
                <c:pt idx="1403">
                  <c:v>-57</c:v>
                </c:pt>
                <c:pt idx="1404">
                  <c:v>-56</c:v>
                </c:pt>
                <c:pt idx="1405">
                  <c:v>-55</c:v>
                </c:pt>
                <c:pt idx="1406">
                  <c:v>-54</c:v>
                </c:pt>
                <c:pt idx="1407">
                  <c:v>-53</c:v>
                </c:pt>
                <c:pt idx="1408">
                  <c:v>-52</c:v>
                </c:pt>
                <c:pt idx="1409">
                  <c:v>-51</c:v>
                </c:pt>
                <c:pt idx="1410">
                  <c:v>-50</c:v>
                </c:pt>
                <c:pt idx="1411">
                  <c:v>-49</c:v>
                </c:pt>
                <c:pt idx="1412">
                  <c:v>-48</c:v>
                </c:pt>
                <c:pt idx="1413">
                  <c:v>-47</c:v>
                </c:pt>
                <c:pt idx="1414">
                  <c:v>-46</c:v>
                </c:pt>
                <c:pt idx="1415">
                  <c:v>-45</c:v>
                </c:pt>
                <c:pt idx="1416">
                  <c:v>-44</c:v>
                </c:pt>
                <c:pt idx="1417">
                  <c:v>-43</c:v>
                </c:pt>
                <c:pt idx="1418">
                  <c:v>-42</c:v>
                </c:pt>
                <c:pt idx="1419">
                  <c:v>-41</c:v>
                </c:pt>
                <c:pt idx="1420">
                  <c:v>-40</c:v>
                </c:pt>
                <c:pt idx="1421">
                  <c:v>-39</c:v>
                </c:pt>
                <c:pt idx="1422">
                  <c:v>-38</c:v>
                </c:pt>
                <c:pt idx="1423">
                  <c:v>-37</c:v>
                </c:pt>
                <c:pt idx="1424">
                  <c:v>-36</c:v>
                </c:pt>
                <c:pt idx="1425">
                  <c:v>-35</c:v>
                </c:pt>
                <c:pt idx="1426">
                  <c:v>-34</c:v>
                </c:pt>
                <c:pt idx="1427">
                  <c:v>-33</c:v>
                </c:pt>
                <c:pt idx="1428">
                  <c:v>-32</c:v>
                </c:pt>
                <c:pt idx="1429">
                  <c:v>-31</c:v>
                </c:pt>
                <c:pt idx="1430">
                  <c:v>-30</c:v>
                </c:pt>
                <c:pt idx="1431">
                  <c:v>-29</c:v>
                </c:pt>
                <c:pt idx="1432">
                  <c:v>-28</c:v>
                </c:pt>
                <c:pt idx="1433">
                  <c:v>-27</c:v>
                </c:pt>
                <c:pt idx="1434">
                  <c:v>-26</c:v>
                </c:pt>
                <c:pt idx="1435">
                  <c:v>-25</c:v>
                </c:pt>
                <c:pt idx="1436">
                  <c:v>-24</c:v>
                </c:pt>
                <c:pt idx="1437">
                  <c:v>-23</c:v>
                </c:pt>
                <c:pt idx="1438">
                  <c:v>-22</c:v>
                </c:pt>
                <c:pt idx="1439">
                  <c:v>-21</c:v>
                </c:pt>
                <c:pt idx="1440">
                  <c:v>-20</c:v>
                </c:pt>
                <c:pt idx="1441">
                  <c:v>-19</c:v>
                </c:pt>
                <c:pt idx="1442">
                  <c:v>-18</c:v>
                </c:pt>
                <c:pt idx="1443">
                  <c:v>-17</c:v>
                </c:pt>
                <c:pt idx="1444">
                  <c:v>-16</c:v>
                </c:pt>
                <c:pt idx="1445">
                  <c:v>-15</c:v>
                </c:pt>
                <c:pt idx="1446">
                  <c:v>-14</c:v>
                </c:pt>
                <c:pt idx="1447">
                  <c:v>-13</c:v>
                </c:pt>
                <c:pt idx="1448">
                  <c:v>-12</c:v>
                </c:pt>
                <c:pt idx="1449">
                  <c:v>-11</c:v>
                </c:pt>
                <c:pt idx="1450">
                  <c:v>-10</c:v>
                </c:pt>
                <c:pt idx="1451">
                  <c:v>-9</c:v>
                </c:pt>
                <c:pt idx="1452">
                  <c:v>-8</c:v>
                </c:pt>
                <c:pt idx="1453">
                  <c:v>-7</c:v>
                </c:pt>
                <c:pt idx="1454">
                  <c:v>-6</c:v>
                </c:pt>
                <c:pt idx="1455">
                  <c:v>-5</c:v>
                </c:pt>
                <c:pt idx="1456">
                  <c:v>-4</c:v>
                </c:pt>
                <c:pt idx="1457">
                  <c:v>-3</c:v>
                </c:pt>
                <c:pt idx="1458">
                  <c:v>-2</c:v>
                </c:pt>
                <c:pt idx="1459">
                  <c:v>-1</c:v>
                </c:pt>
                <c:pt idx="1460">
                  <c:v>0</c:v>
                </c:pt>
                <c:pt idx="1461">
                  <c:v>1</c:v>
                </c:pt>
                <c:pt idx="1462">
                  <c:v>2</c:v>
                </c:pt>
                <c:pt idx="1463">
                  <c:v>3</c:v>
                </c:pt>
                <c:pt idx="1464">
                  <c:v>4</c:v>
                </c:pt>
                <c:pt idx="1465">
                  <c:v>5</c:v>
                </c:pt>
                <c:pt idx="1466">
                  <c:v>6</c:v>
                </c:pt>
                <c:pt idx="1467">
                  <c:v>7</c:v>
                </c:pt>
                <c:pt idx="1468">
                  <c:v>8</c:v>
                </c:pt>
                <c:pt idx="1469">
                  <c:v>9</c:v>
                </c:pt>
                <c:pt idx="1470">
                  <c:v>10</c:v>
                </c:pt>
                <c:pt idx="1471">
                  <c:v>11</c:v>
                </c:pt>
                <c:pt idx="1472">
                  <c:v>12</c:v>
                </c:pt>
                <c:pt idx="1473">
                  <c:v>13</c:v>
                </c:pt>
                <c:pt idx="1474">
                  <c:v>14</c:v>
                </c:pt>
                <c:pt idx="1475">
                  <c:v>15</c:v>
                </c:pt>
                <c:pt idx="1476">
                  <c:v>16</c:v>
                </c:pt>
                <c:pt idx="1477">
                  <c:v>17</c:v>
                </c:pt>
                <c:pt idx="1478">
                  <c:v>18</c:v>
                </c:pt>
                <c:pt idx="1479">
                  <c:v>19</c:v>
                </c:pt>
                <c:pt idx="1480">
                  <c:v>20</c:v>
                </c:pt>
                <c:pt idx="1481">
                  <c:v>21</c:v>
                </c:pt>
                <c:pt idx="1482">
                  <c:v>22</c:v>
                </c:pt>
                <c:pt idx="1483">
                  <c:v>23</c:v>
                </c:pt>
                <c:pt idx="1484">
                  <c:v>24</c:v>
                </c:pt>
                <c:pt idx="1485">
                  <c:v>25</c:v>
                </c:pt>
                <c:pt idx="1486">
                  <c:v>26</c:v>
                </c:pt>
                <c:pt idx="1487">
                  <c:v>27</c:v>
                </c:pt>
                <c:pt idx="1488">
                  <c:v>28</c:v>
                </c:pt>
                <c:pt idx="1489">
                  <c:v>29</c:v>
                </c:pt>
                <c:pt idx="1490">
                  <c:v>30</c:v>
                </c:pt>
                <c:pt idx="1491">
                  <c:v>31</c:v>
                </c:pt>
                <c:pt idx="1492">
                  <c:v>32</c:v>
                </c:pt>
                <c:pt idx="1493">
                  <c:v>33</c:v>
                </c:pt>
                <c:pt idx="1494">
                  <c:v>34</c:v>
                </c:pt>
                <c:pt idx="1495">
                  <c:v>35</c:v>
                </c:pt>
                <c:pt idx="1496">
                  <c:v>36</c:v>
                </c:pt>
                <c:pt idx="1497">
                  <c:v>37</c:v>
                </c:pt>
                <c:pt idx="1498">
                  <c:v>38</c:v>
                </c:pt>
                <c:pt idx="1499">
                  <c:v>39</c:v>
                </c:pt>
                <c:pt idx="1500">
                  <c:v>40</c:v>
                </c:pt>
                <c:pt idx="1501">
                  <c:v>41</c:v>
                </c:pt>
                <c:pt idx="1502">
                  <c:v>42</c:v>
                </c:pt>
                <c:pt idx="1503">
                  <c:v>43</c:v>
                </c:pt>
                <c:pt idx="1504">
                  <c:v>44</c:v>
                </c:pt>
                <c:pt idx="1505">
                  <c:v>45</c:v>
                </c:pt>
                <c:pt idx="1506">
                  <c:v>46</c:v>
                </c:pt>
                <c:pt idx="1507">
                  <c:v>47</c:v>
                </c:pt>
                <c:pt idx="1508">
                  <c:v>48</c:v>
                </c:pt>
                <c:pt idx="1509">
                  <c:v>49</c:v>
                </c:pt>
                <c:pt idx="1510">
                  <c:v>50</c:v>
                </c:pt>
                <c:pt idx="1511">
                  <c:v>51</c:v>
                </c:pt>
                <c:pt idx="1512">
                  <c:v>52</c:v>
                </c:pt>
                <c:pt idx="1513">
                  <c:v>53</c:v>
                </c:pt>
                <c:pt idx="1514">
                  <c:v>54</c:v>
                </c:pt>
                <c:pt idx="1515">
                  <c:v>55</c:v>
                </c:pt>
                <c:pt idx="1516">
                  <c:v>56</c:v>
                </c:pt>
                <c:pt idx="1517">
                  <c:v>57</c:v>
                </c:pt>
                <c:pt idx="1518">
                  <c:v>58</c:v>
                </c:pt>
                <c:pt idx="1519">
                  <c:v>59</c:v>
                </c:pt>
                <c:pt idx="1520">
                  <c:v>60</c:v>
                </c:pt>
                <c:pt idx="1521">
                  <c:v>61</c:v>
                </c:pt>
                <c:pt idx="1522">
                  <c:v>62</c:v>
                </c:pt>
                <c:pt idx="1523">
                  <c:v>63</c:v>
                </c:pt>
                <c:pt idx="1524">
                  <c:v>64</c:v>
                </c:pt>
                <c:pt idx="1525">
                  <c:v>65</c:v>
                </c:pt>
                <c:pt idx="1526">
                  <c:v>66</c:v>
                </c:pt>
                <c:pt idx="1527">
                  <c:v>67</c:v>
                </c:pt>
                <c:pt idx="1528">
                  <c:v>68</c:v>
                </c:pt>
                <c:pt idx="1529">
                  <c:v>69</c:v>
                </c:pt>
                <c:pt idx="1530">
                  <c:v>70</c:v>
                </c:pt>
                <c:pt idx="1531">
                  <c:v>71</c:v>
                </c:pt>
                <c:pt idx="1532">
                  <c:v>72</c:v>
                </c:pt>
                <c:pt idx="1533">
                  <c:v>73</c:v>
                </c:pt>
                <c:pt idx="1534">
                  <c:v>74</c:v>
                </c:pt>
                <c:pt idx="1535">
                  <c:v>75</c:v>
                </c:pt>
                <c:pt idx="1536">
                  <c:v>76</c:v>
                </c:pt>
                <c:pt idx="1537">
                  <c:v>77</c:v>
                </c:pt>
                <c:pt idx="1538">
                  <c:v>78</c:v>
                </c:pt>
                <c:pt idx="1539">
                  <c:v>79</c:v>
                </c:pt>
                <c:pt idx="1540">
                  <c:v>80</c:v>
                </c:pt>
                <c:pt idx="1541">
                  <c:v>81</c:v>
                </c:pt>
                <c:pt idx="1542">
                  <c:v>82</c:v>
                </c:pt>
                <c:pt idx="1543">
                  <c:v>83</c:v>
                </c:pt>
                <c:pt idx="1544">
                  <c:v>84</c:v>
                </c:pt>
                <c:pt idx="1545">
                  <c:v>85</c:v>
                </c:pt>
                <c:pt idx="1546">
                  <c:v>86</c:v>
                </c:pt>
                <c:pt idx="1547">
                  <c:v>87</c:v>
                </c:pt>
                <c:pt idx="1548">
                  <c:v>88</c:v>
                </c:pt>
                <c:pt idx="1549">
                  <c:v>89</c:v>
                </c:pt>
                <c:pt idx="1550">
                  <c:v>90</c:v>
                </c:pt>
                <c:pt idx="1551">
                  <c:v>91</c:v>
                </c:pt>
                <c:pt idx="1552">
                  <c:v>92</c:v>
                </c:pt>
                <c:pt idx="1553">
                  <c:v>93</c:v>
                </c:pt>
                <c:pt idx="1554">
                  <c:v>94</c:v>
                </c:pt>
                <c:pt idx="1555">
                  <c:v>95</c:v>
                </c:pt>
                <c:pt idx="1556">
                  <c:v>96</c:v>
                </c:pt>
                <c:pt idx="1557">
                  <c:v>97</c:v>
                </c:pt>
                <c:pt idx="1558">
                  <c:v>98</c:v>
                </c:pt>
                <c:pt idx="1559">
                  <c:v>99</c:v>
                </c:pt>
                <c:pt idx="1560">
                  <c:v>100</c:v>
                </c:pt>
                <c:pt idx="1561">
                  <c:v>101</c:v>
                </c:pt>
                <c:pt idx="1562">
                  <c:v>102</c:v>
                </c:pt>
                <c:pt idx="1563">
                  <c:v>103</c:v>
                </c:pt>
                <c:pt idx="1564">
                  <c:v>104</c:v>
                </c:pt>
                <c:pt idx="1565">
                  <c:v>105</c:v>
                </c:pt>
                <c:pt idx="1566">
                  <c:v>106</c:v>
                </c:pt>
                <c:pt idx="1567">
                  <c:v>107</c:v>
                </c:pt>
                <c:pt idx="1568">
                  <c:v>108</c:v>
                </c:pt>
                <c:pt idx="1569">
                  <c:v>109</c:v>
                </c:pt>
                <c:pt idx="1570">
                  <c:v>110</c:v>
                </c:pt>
                <c:pt idx="1571">
                  <c:v>111</c:v>
                </c:pt>
                <c:pt idx="1572">
                  <c:v>112</c:v>
                </c:pt>
                <c:pt idx="1573">
                  <c:v>113</c:v>
                </c:pt>
                <c:pt idx="1574">
                  <c:v>114</c:v>
                </c:pt>
                <c:pt idx="1575">
                  <c:v>115</c:v>
                </c:pt>
                <c:pt idx="1576">
                  <c:v>116</c:v>
                </c:pt>
                <c:pt idx="1577">
                  <c:v>117</c:v>
                </c:pt>
                <c:pt idx="1578">
                  <c:v>118</c:v>
                </c:pt>
                <c:pt idx="1579">
                  <c:v>119</c:v>
                </c:pt>
                <c:pt idx="1580">
                  <c:v>120</c:v>
                </c:pt>
                <c:pt idx="1581">
                  <c:v>121</c:v>
                </c:pt>
                <c:pt idx="1582">
                  <c:v>122</c:v>
                </c:pt>
                <c:pt idx="1583">
                  <c:v>123</c:v>
                </c:pt>
                <c:pt idx="1584">
                  <c:v>124</c:v>
                </c:pt>
                <c:pt idx="1585">
                  <c:v>125</c:v>
                </c:pt>
                <c:pt idx="1586">
                  <c:v>126</c:v>
                </c:pt>
                <c:pt idx="1587">
                  <c:v>127</c:v>
                </c:pt>
                <c:pt idx="1588">
                  <c:v>128</c:v>
                </c:pt>
                <c:pt idx="1589">
                  <c:v>129</c:v>
                </c:pt>
                <c:pt idx="1590">
                  <c:v>130</c:v>
                </c:pt>
                <c:pt idx="1591">
                  <c:v>131</c:v>
                </c:pt>
                <c:pt idx="1592">
                  <c:v>132</c:v>
                </c:pt>
                <c:pt idx="1593">
                  <c:v>133</c:v>
                </c:pt>
                <c:pt idx="1594">
                  <c:v>134</c:v>
                </c:pt>
                <c:pt idx="1595">
                  <c:v>135</c:v>
                </c:pt>
                <c:pt idx="1596">
                  <c:v>136</c:v>
                </c:pt>
                <c:pt idx="1597">
                  <c:v>137</c:v>
                </c:pt>
                <c:pt idx="1598">
                  <c:v>138</c:v>
                </c:pt>
                <c:pt idx="1599">
                  <c:v>139</c:v>
                </c:pt>
                <c:pt idx="1600">
                  <c:v>140</c:v>
                </c:pt>
                <c:pt idx="1601">
                  <c:v>141</c:v>
                </c:pt>
                <c:pt idx="1602">
                  <c:v>142</c:v>
                </c:pt>
                <c:pt idx="1603">
                  <c:v>143</c:v>
                </c:pt>
                <c:pt idx="1604">
                  <c:v>144</c:v>
                </c:pt>
                <c:pt idx="1605">
                  <c:v>145</c:v>
                </c:pt>
                <c:pt idx="1606">
                  <c:v>146</c:v>
                </c:pt>
                <c:pt idx="1607">
                  <c:v>147</c:v>
                </c:pt>
                <c:pt idx="1608">
                  <c:v>148</c:v>
                </c:pt>
                <c:pt idx="1609">
                  <c:v>149</c:v>
                </c:pt>
                <c:pt idx="1610">
                  <c:v>150</c:v>
                </c:pt>
                <c:pt idx="1611">
                  <c:v>151</c:v>
                </c:pt>
                <c:pt idx="1612">
                  <c:v>152</c:v>
                </c:pt>
                <c:pt idx="1613">
                  <c:v>153</c:v>
                </c:pt>
                <c:pt idx="1614">
                  <c:v>154</c:v>
                </c:pt>
                <c:pt idx="1615">
                  <c:v>155</c:v>
                </c:pt>
                <c:pt idx="1616">
                  <c:v>156</c:v>
                </c:pt>
                <c:pt idx="1617">
                  <c:v>157</c:v>
                </c:pt>
                <c:pt idx="1618">
                  <c:v>158</c:v>
                </c:pt>
                <c:pt idx="1619">
                  <c:v>159</c:v>
                </c:pt>
                <c:pt idx="1620">
                  <c:v>160</c:v>
                </c:pt>
                <c:pt idx="1621">
                  <c:v>161</c:v>
                </c:pt>
                <c:pt idx="1622">
                  <c:v>162</c:v>
                </c:pt>
                <c:pt idx="1623">
                  <c:v>163</c:v>
                </c:pt>
                <c:pt idx="1624">
                  <c:v>164</c:v>
                </c:pt>
                <c:pt idx="1625">
                  <c:v>165</c:v>
                </c:pt>
                <c:pt idx="1626">
                  <c:v>166</c:v>
                </c:pt>
                <c:pt idx="1627">
                  <c:v>167</c:v>
                </c:pt>
                <c:pt idx="1628">
                  <c:v>168</c:v>
                </c:pt>
                <c:pt idx="1629">
                  <c:v>169</c:v>
                </c:pt>
                <c:pt idx="1630">
                  <c:v>170</c:v>
                </c:pt>
                <c:pt idx="1631">
                  <c:v>171</c:v>
                </c:pt>
                <c:pt idx="1632">
                  <c:v>172</c:v>
                </c:pt>
                <c:pt idx="1633">
                  <c:v>173</c:v>
                </c:pt>
                <c:pt idx="1634">
                  <c:v>174</c:v>
                </c:pt>
                <c:pt idx="1635">
                  <c:v>175</c:v>
                </c:pt>
                <c:pt idx="1636">
                  <c:v>176</c:v>
                </c:pt>
                <c:pt idx="1637">
                  <c:v>177</c:v>
                </c:pt>
                <c:pt idx="1638">
                  <c:v>178</c:v>
                </c:pt>
                <c:pt idx="1639">
                  <c:v>179</c:v>
                </c:pt>
                <c:pt idx="1640">
                  <c:v>180</c:v>
                </c:pt>
                <c:pt idx="1641">
                  <c:v>181</c:v>
                </c:pt>
                <c:pt idx="1642">
                  <c:v>182</c:v>
                </c:pt>
                <c:pt idx="1643">
                  <c:v>183</c:v>
                </c:pt>
                <c:pt idx="1644">
                  <c:v>184</c:v>
                </c:pt>
                <c:pt idx="1645">
                  <c:v>185</c:v>
                </c:pt>
                <c:pt idx="1646">
                  <c:v>186</c:v>
                </c:pt>
                <c:pt idx="1647">
                  <c:v>187</c:v>
                </c:pt>
                <c:pt idx="1648">
                  <c:v>188</c:v>
                </c:pt>
                <c:pt idx="1649">
                  <c:v>189</c:v>
                </c:pt>
                <c:pt idx="1650">
                  <c:v>190</c:v>
                </c:pt>
                <c:pt idx="1651">
                  <c:v>191</c:v>
                </c:pt>
                <c:pt idx="1652">
                  <c:v>192</c:v>
                </c:pt>
                <c:pt idx="1653">
                  <c:v>193</c:v>
                </c:pt>
                <c:pt idx="1654">
                  <c:v>194</c:v>
                </c:pt>
                <c:pt idx="1655">
                  <c:v>195</c:v>
                </c:pt>
                <c:pt idx="1656">
                  <c:v>196</c:v>
                </c:pt>
                <c:pt idx="1657">
                  <c:v>197</c:v>
                </c:pt>
                <c:pt idx="1658">
                  <c:v>198</c:v>
                </c:pt>
                <c:pt idx="1659">
                  <c:v>199</c:v>
                </c:pt>
                <c:pt idx="1660">
                  <c:v>200</c:v>
                </c:pt>
                <c:pt idx="1661">
                  <c:v>201</c:v>
                </c:pt>
                <c:pt idx="1662">
                  <c:v>202</c:v>
                </c:pt>
                <c:pt idx="1663">
                  <c:v>203</c:v>
                </c:pt>
                <c:pt idx="1664">
                  <c:v>204</c:v>
                </c:pt>
                <c:pt idx="1665">
                  <c:v>205</c:v>
                </c:pt>
                <c:pt idx="1666">
                  <c:v>206</c:v>
                </c:pt>
                <c:pt idx="1667">
                  <c:v>207</c:v>
                </c:pt>
                <c:pt idx="1668">
                  <c:v>208</c:v>
                </c:pt>
                <c:pt idx="1669">
                  <c:v>209</c:v>
                </c:pt>
                <c:pt idx="1670">
                  <c:v>210</c:v>
                </c:pt>
                <c:pt idx="1671">
                  <c:v>211</c:v>
                </c:pt>
                <c:pt idx="1672">
                  <c:v>212</c:v>
                </c:pt>
                <c:pt idx="1673">
                  <c:v>213</c:v>
                </c:pt>
                <c:pt idx="1674">
                  <c:v>214</c:v>
                </c:pt>
                <c:pt idx="1675">
                  <c:v>215</c:v>
                </c:pt>
                <c:pt idx="1676">
                  <c:v>216</c:v>
                </c:pt>
                <c:pt idx="1677">
                  <c:v>217</c:v>
                </c:pt>
                <c:pt idx="1678">
                  <c:v>218</c:v>
                </c:pt>
                <c:pt idx="1679">
                  <c:v>219</c:v>
                </c:pt>
                <c:pt idx="1680">
                  <c:v>220</c:v>
                </c:pt>
                <c:pt idx="1681">
                  <c:v>221</c:v>
                </c:pt>
                <c:pt idx="1682">
                  <c:v>222</c:v>
                </c:pt>
                <c:pt idx="1683">
                  <c:v>223</c:v>
                </c:pt>
                <c:pt idx="1684">
                  <c:v>224</c:v>
                </c:pt>
                <c:pt idx="1685">
                  <c:v>225</c:v>
                </c:pt>
                <c:pt idx="1686">
                  <c:v>226</c:v>
                </c:pt>
                <c:pt idx="1687">
                  <c:v>227</c:v>
                </c:pt>
                <c:pt idx="1688">
                  <c:v>228</c:v>
                </c:pt>
                <c:pt idx="1689">
                  <c:v>229</c:v>
                </c:pt>
                <c:pt idx="1690">
                  <c:v>230</c:v>
                </c:pt>
                <c:pt idx="1691">
                  <c:v>231</c:v>
                </c:pt>
                <c:pt idx="1692">
                  <c:v>232</c:v>
                </c:pt>
                <c:pt idx="1693">
                  <c:v>233</c:v>
                </c:pt>
                <c:pt idx="1694">
                  <c:v>234</c:v>
                </c:pt>
                <c:pt idx="1695">
                  <c:v>235</c:v>
                </c:pt>
                <c:pt idx="1696">
                  <c:v>236</c:v>
                </c:pt>
                <c:pt idx="1697">
                  <c:v>237</c:v>
                </c:pt>
                <c:pt idx="1698">
                  <c:v>238</c:v>
                </c:pt>
                <c:pt idx="1699">
                  <c:v>239</c:v>
                </c:pt>
                <c:pt idx="1700">
                  <c:v>240</c:v>
                </c:pt>
                <c:pt idx="1701">
                  <c:v>241</c:v>
                </c:pt>
                <c:pt idx="1702">
                  <c:v>242</c:v>
                </c:pt>
                <c:pt idx="1703">
                  <c:v>243</c:v>
                </c:pt>
                <c:pt idx="1704">
                  <c:v>244</c:v>
                </c:pt>
                <c:pt idx="1705">
                  <c:v>245</c:v>
                </c:pt>
                <c:pt idx="1706">
                  <c:v>246</c:v>
                </c:pt>
                <c:pt idx="1707">
                  <c:v>247</c:v>
                </c:pt>
                <c:pt idx="1708">
                  <c:v>248</c:v>
                </c:pt>
                <c:pt idx="1709">
                  <c:v>249</c:v>
                </c:pt>
                <c:pt idx="1710">
                  <c:v>250</c:v>
                </c:pt>
                <c:pt idx="1711">
                  <c:v>251</c:v>
                </c:pt>
                <c:pt idx="1712">
                  <c:v>252</c:v>
                </c:pt>
                <c:pt idx="1713">
                  <c:v>253</c:v>
                </c:pt>
                <c:pt idx="1714">
                  <c:v>254</c:v>
                </c:pt>
                <c:pt idx="1715">
                  <c:v>255</c:v>
                </c:pt>
                <c:pt idx="1716">
                  <c:v>256</c:v>
                </c:pt>
                <c:pt idx="1717">
                  <c:v>257</c:v>
                </c:pt>
                <c:pt idx="1718">
                  <c:v>258</c:v>
                </c:pt>
                <c:pt idx="1719">
                  <c:v>259</c:v>
                </c:pt>
                <c:pt idx="1720">
                  <c:v>260</c:v>
                </c:pt>
                <c:pt idx="1721">
                  <c:v>261</c:v>
                </c:pt>
                <c:pt idx="1722">
                  <c:v>262</c:v>
                </c:pt>
                <c:pt idx="1723">
                  <c:v>263</c:v>
                </c:pt>
                <c:pt idx="1724">
                  <c:v>264</c:v>
                </c:pt>
                <c:pt idx="1725">
                  <c:v>265</c:v>
                </c:pt>
                <c:pt idx="1726">
                  <c:v>266</c:v>
                </c:pt>
                <c:pt idx="1727">
                  <c:v>267</c:v>
                </c:pt>
                <c:pt idx="1728">
                  <c:v>268</c:v>
                </c:pt>
                <c:pt idx="1729">
                  <c:v>269</c:v>
                </c:pt>
                <c:pt idx="1730">
                  <c:v>270</c:v>
                </c:pt>
                <c:pt idx="1731">
                  <c:v>271</c:v>
                </c:pt>
                <c:pt idx="1732">
                  <c:v>272</c:v>
                </c:pt>
                <c:pt idx="1733">
                  <c:v>273</c:v>
                </c:pt>
                <c:pt idx="1734">
                  <c:v>274</c:v>
                </c:pt>
                <c:pt idx="1735">
                  <c:v>275</c:v>
                </c:pt>
                <c:pt idx="1736">
                  <c:v>276</c:v>
                </c:pt>
                <c:pt idx="1737">
                  <c:v>277</c:v>
                </c:pt>
                <c:pt idx="1738">
                  <c:v>278</c:v>
                </c:pt>
                <c:pt idx="1739">
                  <c:v>279</c:v>
                </c:pt>
                <c:pt idx="1740">
                  <c:v>280</c:v>
                </c:pt>
                <c:pt idx="1741">
                  <c:v>281</c:v>
                </c:pt>
                <c:pt idx="1742">
                  <c:v>282</c:v>
                </c:pt>
                <c:pt idx="1743">
                  <c:v>283</c:v>
                </c:pt>
                <c:pt idx="1744">
                  <c:v>284</c:v>
                </c:pt>
                <c:pt idx="1745">
                  <c:v>285</c:v>
                </c:pt>
                <c:pt idx="1746">
                  <c:v>286</c:v>
                </c:pt>
                <c:pt idx="1747">
                  <c:v>287</c:v>
                </c:pt>
                <c:pt idx="1748">
                  <c:v>288</c:v>
                </c:pt>
                <c:pt idx="1749">
                  <c:v>289</c:v>
                </c:pt>
                <c:pt idx="1750">
                  <c:v>290</c:v>
                </c:pt>
                <c:pt idx="1751">
                  <c:v>291</c:v>
                </c:pt>
                <c:pt idx="1752">
                  <c:v>292</c:v>
                </c:pt>
                <c:pt idx="1753">
                  <c:v>293</c:v>
                </c:pt>
                <c:pt idx="1754">
                  <c:v>294</c:v>
                </c:pt>
                <c:pt idx="1755">
                  <c:v>295</c:v>
                </c:pt>
                <c:pt idx="1756">
                  <c:v>296</c:v>
                </c:pt>
                <c:pt idx="1757">
                  <c:v>297</c:v>
                </c:pt>
                <c:pt idx="1758">
                  <c:v>298</c:v>
                </c:pt>
                <c:pt idx="1759">
                  <c:v>299</c:v>
                </c:pt>
                <c:pt idx="1760">
                  <c:v>300</c:v>
                </c:pt>
                <c:pt idx="1761">
                  <c:v>301</c:v>
                </c:pt>
                <c:pt idx="1762">
                  <c:v>302</c:v>
                </c:pt>
                <c:pt idx="1763">
                  <c:v>303</c:v>
                </c:pt>
                <c:pt idx="1764">
                  <c:v>304</c:v>
                </c:pt>
                <c:pt idx="1765">
                  <c:v>305</c:v>
                </c:pt>
                <c:pt idx="1766">
                  <c:v>306</c:v>
                </c:pt>
                <c:pt idx="1767">
                  <c:v>307</c:v>
                </c:pt>
                <c:pt idx="1768">
                  <c:v>308</c:v>
                </c:pt>
                <c:pt idx="1769">
                  <c:v>309</c:v>
                </c:pt>
                <c:pt idx="1770">
                  <c:v>310</c:v>
                </c:pt>
                <c:pt idx="1771">
                  <c:v>311</c:v>
                </c:pt>
                <c:pt idx="1772">
                  <c:v>312</c:v>
                </c:pt>
                <c:pt idx="1773">
                  <c:v>313</c:v>
                </c:pt>
                <c:pt idx="1774">
                  <c:v>314</c:v>
                </c:pt>
                <c:pt idx="1775">
                  <c:v>315</c:v>
                </c:pt>
                <c:pt idx="1776">
                  <c:v>316</c:v>
                </c:pt>
                <c:pt idx="1777">
                  <c:v>317</c:v>
                </c:pt>
                <c:pt idx="1778">
                  <c:v>318</c:v>
                </c:pt>
                <c:pt idx="1779">
                  <c:v>319</c:v>
                </c:pt>
                <c:pt idx="1780">
                  <c:v>320</c:v>
                </c:pt>
                <c:pt idx="1781">
                  <c:v>321</c:v>
                </c:pt>
                <c:pt idx="1782">
                  <c:v>322</c:v>
                </c:pt>
                <c:pt idx="1783">
                  <c:v>323</c:v>
                </c:pt>
                <c:pt idx="1784">
                  <c:v>324</c:v>
                </c:pt>
                <c:pt idx="1785">
                  <c:v>325</c:v>
                </c:pt>
                <c:pt idx="1786">
                  <c:v>326</c:v>
                </c:pt>
                <c:pt idx="1787">
                  <c:v>327</c:v>
                </c:pt>
                <c:pt idx="1788">
                  <c:v>328</c:v>
                </c:pt>
                <c:pt idx="1789">
                  <c:v>329</c:v>
                </c:pt>
                <c:pt idx="1790">
                  <c:v>330</c:v>
                </c:pt>
                <c:pt idx="1791">
                  <c:v>331</c:v>
                </c:pt>
                <c:pt idx="1792">
                  <c:v>332</c:v>
                </c:pt>
                <c:pt idx="1793">
                  <c:v>333</c:v>
                </c:pt>
                <c:pt idx="1794">
                  <c:v>334</c:v>
                </c:pt>
                <c:pt idx="1795">
                  <c:v>335</c:v>
                </c:pt>
                <c:pt idx="1796">
                  <c:v>336</c:v>
                </c:pt>
                <c:pt idx="1797">
                  <c:v>337</c:v>
                </c:pt>
                <c:pt idx="1798">
                  <c:v>338</c:v>
                </c:pt>
                <c:pt idx="1799">
                  <c:v>339</c:v>
                </c:pt>
                <c:pt idx="1800">
                  <c:v>340</c:v>
                </c:pt>
                <c:pt idx="1801">
                  <c:v>341</c:v>
                </c:pt>
                <c:pt idx="1802">
                  <c:v>342</c:v>
                </c:pt>
                <c:pt idx="1803">
                  <c:v>343</c:v>
                </c:pt>
                <c:pt idx="1804">
                  <c:v>344</c:v>
                </c:pt>
                <c:pt idx="1805">
                  <c:v>345</c:v>
                </c:pt>
                <c:pt idx="1806">
                  <c:v>346</c:v>
                </c:pt>
                <c:pt idx="1807">
                  <c:v>347</c:v>
                </c:pt>
                <c:pt idx="1808">
                  <c:v>348</c:v>
                </c:pt>
                <c:pt idx="1809">
                  <c:v>349</c:v>
                </c:pt>
                <c:pt idx="1810">
                  <c:v>350</c:v>
                </c:pt>
                <c:pt idx="1811">
                  <c:v>351</c:v>
                </c:pt>
                <c:pt idx="1812">
                  <c:v>352</c:v>
                </c:pt>
                <c:pt idx="1813">
                  <c:v>353</c:v>
                </c:pt>
                <c:pt idx="1814">
                  <c:v>354</c:v>
                </c:pt>
                <c:pt idx="1815">
                  <c:v>355</c:v>
                </c:pt>
                <c:pt idx="1816">
                  <c:v>356</c:v>
                </c:pt>
                <c:pt idx="1817">
                  <c:v>357</c:v>
                </c:pt>
                <c:pt idx="1818">
                  <c:v>358</c:v>
                </c:pt>
                <c:pt idx="1819">
                  <c:v>359</c:v>
                </c:pt>
                <c:pt idx="1820">
                  <c:v>360</c:v>
                </c:pt>
                <c:pt idx="1821">
                  <c:v>361</c:v>
                </c:pt>
                <c:pt idx="1822">
                  <c:v>362</c:v>
                </c:pt>
                <c:pt idx="1823">
                  <c:v>363</c:v>
                </c:pt>
                <c:pt idx="1824">
                  <c:v>364</c:v>
                </c:pt>
                <c:pt idx="1825">
                  <c:v>365</c:v>
                </c:pt>
                <c:pt idx="1826">
                  <c:v>366</c:v>
                </c:pt>
                <c:pt idx="1827">
                  <c:v>367</c:v>
                </c:pt>
                <c:pt idx="1828">
                  <c:v>368</c:v>
                </c:pt>
                <c:pt idx="1829">
                  <c:v>369</c:v>
                </c:pt>
                <c:pt idx="1830">
                  <c:v>370</c:v>
                </c:pt>
                <c:pt idx="1831">
                  <c:v>371</c:v>
                </c:pt>
                <c:pt idx="1832">
                  <c:v>372</c:v>
                </c:pt>
                <c:pt idx="1833">
                  <c:v>373</c:v>
                </c:pt>
                <c:pt idx="1834">
                  <c:v>374</c:v>
                </c:pt>
                <c:pt idx="1835">
                  <c:v>375</c:v>
                </c:pt>
                <c:pt idx="1836">
                  <c:v>376</c:v>
                </c:pt>
                <c:pt idx="1837">
                  <c:v>377</c:v>
                </c:pt>
                <c:pt idx="1838">
                  <c:v>378</c:v>
                </c:pt>
                <c:pt idx="1839">
                  <c:v>379</c:v>
                </c:pt>
                <c:pt idx="1840">
                  <c:v>380</c:v>
                </c:pt>
                <c:pt idx="1841">
                  <c:v>381</c:v>
                </c:pt>
                <c:pt idx="1842">
                  <c:v>382</c:v>
                </c:pt>
                <c:pt idx="1843">
                  <c:v>383</c:v>
                </c:pt>
                <c:pt idx="1844">
                  <c:v>384</c:v>
                </c:pt>
                <c:pt idx="1845">
                  <c:v>385</c:v>
                </c:pt>
                <c:pt idx="1846">
                  <c:v>386</c:v>
                </c:pt>
                <c:pt idx="1847">
                  <c:v>387</c:v>
                </c:pt>
                <c:pt idx="1848">
                  <c:v>388</c:v>
                </c:pt>
                <c:pt idx="1849">
                  <c:v>389</c:v>
                </c:pt>
                <c:pt idx="1850">
                  <c:v>390</c:v>
                </c:pt>
                <c:pt idx="1851">
                  <c:v>391</c:v>
                </c:pt>
                <c:pt idx="1852">
                  <c:v>392</c:v>
                </c:pt>
                <c:pt idx="1853">
                  <c:v>393</c:v>
                </c:pt>
                <c:pt idx="1854">
                  <c:v>394</c:v>
                </c:pt>
                <c:pt idx="1855">
                  <c:v>395</c:v>
                </c:pt>
                <c:pt idx="1856">
                  <c:v>396</c:v>
                </c:pt>
                <c:pt idx="1857">
                  <c:v>397</c:v>
                </c:pt>
                <c:pt idx="1858">
                  <c:v>398</c:v>
                </c:pt>
                <c:pt idx="1859">
                  <c:v>399</c:v>
                </c:pt>
                <c:pt idx="1860">
                  <c:v>400</c:v>
                </c:pt>
                <c:pt idx="1861">
                  <c:v>401</c:v>
                </c:pt>
                <c:pt idx="1862">
                  <c:v>402</c:v>
                </c:pt>
                <c:pt idx="1863">
                  <c:v>403</c:v>
                </c:pt>
                <c:pt idx="1864">
                  <c:v>404</c:v>
                </c:pt>
                <c:pt idx="1865">
                  <c:v>405</c:v>
                </c:pt>
                <c:pt idx="1866">
                  <c:v>406</c:v>
                </c:pt>
                <c:pt idx="1867">
                  <c:v>407</c:v>
                </c:pt>
                <c:pt idx="1868">
                  <c:v>408</c:v>
                </c:pt>
                <c:pt idx="1869">
                  <c:v>409</c:v>
                </c:pt>
                <c:pt idx="1870">
                  <c:v>410</c:v>
                </c:pt>
                <c:pt idx="1871">
                  <c:v>411</c:v>
                </c:pt>
                <c:pt idx="1872">
                  <c:v>412</c:v>
                </c:pt>
                <c:pt idx="1873">
                  <c:v>413</c:v>
                </c:pt>
                <c:pt idx="1874">
                  <c:v>414</c:v>
                </c:pt>
                <c:pt idx="1875">
                  <c:v>415</c:v>
                </c:pt>
                <c:pt idx="1876">
                  <c:v>416</c:v>
                </c:pt>
                <c:pt idx="1877">
                  <c:v>417</c:v>
                </c:pt>
                <c:pt idx="1878">
                  <c:v>418</c:v>
                </c:pt>
                <c:pt idx="1879">
                  <c:v>419</c:v>
                </c:pt>
                <c:pt idx="1880">
                  <c:v>420</c:v>
                </c:pt>
                <c:pt idx="1881">
                  <c:v>421</c:v>
                </c:pt>
                <c:pt idx="1882">
                  <c:v>422</c:v>
                </c:pt>
                <c:pt idx="1883">
                  <c:v>423</c:v>
                </c:pt>
                <c:pt idx="1884">
                  <c:v>424</c:v>
                </c:pt>
                <c:pt idx="1885">
                  <c:v>425</c:v>
                </c:pt>
                <c:pt idx="1886">
                  <c:v>426</c:v>
                </c:pt>
                <c:pt idx="1887">
                  <c:v>427</c:v>
                </c:pt>
                <c:pt idx="1888">
                  <c:v>428</c:v>
                </c:pt>
                <c:pt idx="1889">
                  <c:v>429</c:v>
                </c:pt>
                <c:pt idx="1890">
                  <c:v>430</c:v>
                </c:pt>
                <c:pt idx="1891">
                  <c:v>431</c:v>
                </c:pt>
                <c:pt idx="1892">
                  <c:v>432</c:v>
                </c:pt>
                <c:pt idx="1893">
                  <c:v>433</c:v>
                </c:pt>
                <c:pt idx="1894">
                  <c:v>434</c:v>
                </c:pt>
                <c:pt idx="1895">
                  <c:v>435</c:v>
                </c:pt>
                <c:pt idx="1896">
                  <c:v>436</c:v>
                </c:pt>
                <c:pt idx="1897">
                  <c:v>437</c:v>
                </c:pt>
                <c:pt idx="1898">
                  <c:v>438</c:v>
                </c:pt>
                <c:pt idx="1899">
                  <c:v>439</c:v>
                </c:pt>
                <c:pt idx="1900">
                  <c:v>440</c:v>
                </c:pt>
                <c:pt idx="1901">
                  <c:v>441</c:v>
                </c:pt>
                <c:pt idx="1902">
                  <c:v>442</c:v>
                </c:pt>
                <c:pt idx="1903">
                  <c:v>443</c:v>
                </c:pt>
                <c:pt idx="1904">
                  <c:v>444</c:v>
                </c:pt>
                <c:pt idx="1905">
                  <c:v>445</c:v>
                </c:pt>
                <c:pt idx="1906">
                  <c:v>446</c:v>
                </c:pt>
                <c:pt idx="1907">
                  <c:v>447</c:v>
                </c:pt>
                <c:pt idx="1908">
                  <c:v>448</c:v>
                </c:pt>
                <c:pt idx="1909">
                  <c:v>449</c:v>
                </c:pt>
                <c:pt idx="1910">
                  <c:v>450</c:v>
                </c:pt>
                <c:pt idx="1911">
                  <c:v>451</c:v>
                </c:pt>
                <c:pt idx="1912">
                  <c:v>452</c:v>
                </c:pt>
                <c:pt idx="1913">
                  <c:v>453</c:v>
                </c:pt>
                <c:pt idx="1914">
                  <c:v>454</c:v>
                </c:pt>
                <c:pt idx="1915">
                  <c:v>455</c:v>
                </c:pt>
                <c:pt idx="1916">
                  <c:v>456</c:v>
                </c:pt>
                <c:pt idx="1917">
                  <c:v>457</c:v>
                </c:pt>
                <c:pt idx="1918">
                  <c:v>458</c:v>
                </c:pt>
                <c:pt idx="1919">
                  <c:v>459</c:v>
                </c:pt>
                <c:pt idx="1920">
                  <c:v>460</c:v>
                </c:pt>
                <c:pt idx="1921">
                  <c:v>461</c:v>
                </c:pt>
                <c:pt idx="1922">
                  <c:v>462</c:v>
                </c:pt>
                <c:pt idx="1923">
                  <c:v>463</c:v>
                </c:pt>
                <c:pt idx="1924">
                  <c:v>464</c:v>
                </c:pt>
                <c:pt idx="1925">
                  <c:v>465</c:v>
                </c:pt>
                <c:pt idx="1926">
                  <c:v>466</c:v>
                </c:pt>
                <c:pt idx="1927">
                  <c:v>467</c:v>
                </c:pt>
                <c:pt idx="1928">
                  <c:v>468</c:v>
                </c:pt>
                <c:pt idx="1929">
                  <c:v>469</c:v>
                </c:pt>
                <c:pt idx="1930">
                  <c:v>470</c:v>
                </c:pt>
                <c:pt idx="1931">
                  <c:v>471</c:v>
                </c:pt>
                <c:pt idx="1932">
                  <c:v>472</c:v>
                </c:pt>
                <c:pt idx="1933">
                  <c:v>473</c:v>
                </c:pt>
                <c:pt idx="1934">
                  <c:v>474</c:v>
                </c:pt>
                <c:pt idx="1935">
                  <c:v>475</c:v>
                </c:pt>
                <c:pt idx="1936">
                  <c:v>476</c:v>
                </c:pt>
                <c:pt idx="1937">
                  <c:v>477</c:v>
                </c:pt>
                <c:pt idx="1938">
                  <c:v>478</c:v>
                </c:pt>
                <c:pt idx="1939">
                  <c:v>479</c:v>
                </c:pt>
                <c:pt idx="1940">
                  <c:v>480</c:v>
                </c:pt>
                <c:pt idx="1941">
                  <c:v>481</c:v>
                </c:pt>
                <c:pt idx="1942">
                  <c:v>482</c:v>
                </c:pt>
                <c:pt idx="1943">
                  <c:v>483</c:v>
                </c:pt>
                <c:pt idx="1944">
                  <c:v>484</c:v>
                </c:pt>
                <c:pt idx="1945">
                  <c:v>485</c:v>
                </c:pt>
                <c:pt idx="1946">
                  <c:v>486</c:v>
                </c:pt>
                <c:pt idx="1947">
                  <c:v>487</c:v>
                </c:pt>
                <c:pt idx="1948">
                  <c:v>488</c:v>
                </c:pt>
                <c:pt idx="1949">
                  <c:v>489</c:v>
                </c:pt>
                <c:pt idx="1950">
                  <c:v>490</c:v>
                </c:pt>
                <c:pt idx="1951">
                  <c:v>491</c:v>
                </c:pt>
                <c:pt idx="1952">
                  <c:v>492</c:v>
                </c:pt>
                <c:pt idx="1953">
                  <c:v>493</c:v>
                </c:pt>
                <c:pt idx="1954">
                  <c:v>494</c:v>
                </c:pt>
                <c:pt idx="1955">
                  <c:v>495</c:v>
                </c:pt>
                <c:pt idx="1956">
                  <c:v>496</c:v>
                </c:pt>
                <c:pt idx="1957">
                  <c:v>497</c:v>
                </c:pt>
                <c:pt idx="1958">
                  <c:v>498</c:v>
                </c:pt>
                <c:pt idx="1959">
                  <c:v>499</c:v>
                </c:pt>
                <c:pt idx="1960">
                  <c:v>500</c:v>
                </c:pt>
                <c:pt idx="1961">
                  <c:v>501</c:v>
                </c:pt>
                <c:pt idx="1962">
                  <c:v>502</c:v>
                </c:pt>
                <c:pt idx="1963">
                  <c:v>503</c:v>
                </c:pt>
                <c:pt idx="1964">
                  <c:v>504</c:v>
                </c:pt>
                <c:pt idx="1965">
                  <c:v>505</c:v>
                </c:pt>
                <c:pt idx="1966">
                  <c:v>506</c:v>
                </c:pt>
                <c:pt idx="1967">
                  <c:v>507</c:v>
                </c:pt>
                <c:pt idx="1968">
                  <c:v>508</c:v>
                </c:pt>
                <c:pt idx="1969">
                  <c:v>509</c:v>
                </c:pt>
                <c:pt idx="1970">
                  <c:v>510</c:v>
                </c:pt>
                <c:pt idx="1971">
                  <c:v>511</c:v>
                </c:pt>
                <c:pt idx="1972">
                  <c:v>512</c:v>
                </c:pt>
                <c:pt idx="1973">
                  <c:v>513</c:v>
                </c:pt>
                <c:pt idx="1974">
                  <c:v>514</c:v>
                </c:pt>
                <c:pt idx="1975">
                  <c:v>515</c:v>
                </c:pt>
                <c:pt idx="1976">
                  <c:v>516</c:v>
                </c:pt>
                <c:pt idx="1977">
                  <c:v>517</c:v>
                </c:pt>
                <c:pt idx="1978">
                  <c:v>518</c:v>
                </c:pt>
                <c:pt idx="1979">
                  <c:v>519</c:v>
                </c:pt>
                <c:pt idx="1980">
                  <c:v>520</c:v>
                </c:pt>
                <c:pt idx="1981">
                  <c:v>521</c:v>
                </c:pt>
                <c:pt idx="1982">
                  <c:v>522</c:v>
                </c:pt>
                <c:pt idx="1983">
                  <c:v>523</c:v>
                </c:pt>
                <c:pt idx="1984">
                  <c:v>524</c:v>
                </c:pt>
                <c:pt idx="1985">
                  <c:v>525</c:v>
                </c:pt>
                <c:pt idx="1986">
                  <c:v>526</c:v>
                </c:pt>
                <c:pt idx="1987">
                  <c:v>527</c:v>
                </c:pt>
                <c:pt idx="1988">
                  <c:v>528</c:v>
                </c:pt>
                <c:pt idx="1989">
                  <c:v>529</c:v>
                </c:pt>
                <c:pt idx="1990">
                  <c:v>530</c:v>
                </c:pt>
                <c:pt idx="1991">
                  <c:v>531</c:v>
                </c:pt>
                <c:pt idx="1992">
                  <c:v>532</c:v>
                </c:pt>
                <c:pt idx="1993">
                  <c:v>533</c:v>
                </c:pt>
                <c:pt idx="1994">
                  <c:v>534</c:v>
                </c:pt>
                <c:pt idx="1995">
                  <c:v>535</c:v>
                </c:pt>
                <c:pt idx="1996">
                  <c:v>536</c:v>
                </c:pt>
                <c:pt idx="1997">
                  <c:v>537</c:v>
                </c:pt>
                <c:pt idx="1998">
                  <c:v>538</c:v>
                </c:pt>
                <c:pt idx="1999">
                  <c:v>539</c:v>
                </c:pt>
                <c:pt idx="2000">
                  <c:v>540</c:v>
                </c:pt>
                <c:pt idx="2001">
                  <c:v>541</c:v>
                </c:pt>
                <c:pt idx="2002">
                  <c:v>542</c:v>
                </c:pt>
                <c:pt idx="2003">
                  <c:v>543</c:v>
                </c:pt>
                <c:pt idx="2004">
                  <c:v>544</c:v>
                </c:pt>
                <c:pt idx="2005">
                  <c:v>545</c:v>
                </c:pt>
                <c:pt idx="2006">
                  <c:v>546</c:v>
                </c:pt>
                <c:pt idx="2007">
                  <c:v>547</c:v>
                </c:pt>
                <c:pt idx="2008">
                  <c:v>548</c:v>
                </c:pt>
                <c:pt idx="2009">
                  <c:v>549</c:v>
                </c:pt>
                <c:pt idx="2010">
                  <c:v>550</c:v>
                </c:pt>
                <c:pt idx="2011">
                  <c:v>551</c:v>
                </c:pt>
                <c:pt idx="2012">
                  <c:v>552</c:v>
                </c:pt>
                <c:pt idx="2013">
                  <c:v>553</c:v>
                </c:pt>
                <c:pt idx="2014">
                  <c:v>554</c:v>
                </c:pt>
                <c:pt idx="2015">
                  <c:v>555</c:v>
                </c:pt>
                <c:pt idx="2016">
                  <c:v>556</c:v>
                </c:pt>
                <c:pt idx="2017">
                  <c:v>557</c:v>
                </c:pt>
                <c:pt idx="2018">
                  <c:v>558</c:v>
                </c:pt>
                <c:pt idx="2019">
                  <c:v>559</c:v>
                </c:pt>
                <c:pt idx="2020">
                  <c:v>560</c:v>
                </c:pt>
                <c:pt idx="2021">
                  <c:v>561</c:v>
                </c:pt>
                <c:pt idx="2022">
                  <c:v>562</c:v>
                </c:pt>
                <c:pt idx="2023">
                  <c:v>563</c:v>
                </c:pt>
                <c:pt idx="2024">
                  <c:v>564</c:v>
                </c:pt>
                <c:pt idx="2025">
                  <c:v>565</c:v>
                </c:pt>
                <c:pt idx="2026">
                  <c:v>566</c:v>
                </c:pt>
                <c:pt idx="2027">
                  <c:v>567</c:v>
                </c:pt>
                <c:pt idx="2028">
                  <c:v>568</c:v>
                </c:pt>
                <c:pt idx="2029">
                  <c:v>569</c:v>
                </c:pt>
                <c:pt idx="2030">
                  <c:v>570</c:v>
                </c:pt>
                <c:pt idx="2031">
                  <c:v>571</c:v>
                </c:pt>
                <c:pt idx="2032">
                  <c:v>572</c:v>
                </c:pt>
                <c:pt idx="2033">
                  <c:v>573</c:v>
                </c:pt>
                <c:pt idx="2034">
                  <c:v>574</c:v>
                </c:pt>
                <c:pt idx="2035">
                  <c:v>575</c:v>
                </c:pt>
                <c:pt idx="2036">
                  <c:v>576</c:v>
                </c:pt>
                <c:pt idx="2037">
                  <c:v>577</c:v>
                </c:pt>
                <c:pt idx="2038">
                  <c:v>578</c:v>
                </c:pt>
                <c:pt idx="2039">
                  <c:v>579</c:v>
                </c:pt>
                <c:pt idx="2040">
                  <c:v>580</c:v>
                </c:pt>
                <c:pt idx="2041">
                  <c:v>581</c:v>
                </c:pt>
                <c:pt idx="2042">
                  <c:v>582</c:v>
                </c:pt>
                <c:pt idx="2043">
                  <c:v>583</c:v>
                </c:pt>
                <c:pt idx="2044">
                  <c:v>584</c:v>
                </c:pt>
                <c:pt idx="2045">
                  <c:v>585</c:v>
                </c:pt>
                <c:pt idx="2046">
                  <c:v>586</c:v>
                </c:pt>
                <c:pt idx="2047">
                  <c:v>587</c:v>
                </c:pt>
                <c:pt idx="2048">
                  <c:v>588</c:v>
                </c:pt>
                <c:pt idx="2049">
                  <c:v>589</c:v>
                </c:pt>
                <c:pt idx="2050">
                  <c:v>590</c:v>
                </c:pt>
                <c:pt idx="2051">
                  <c:v>591</c:v>
                </c:pt>
                <c:pt idx="2052">
                  <c:v>592</c:v>
                </c:pt>
                <c:pt idx="2053">
                  <c:v>593</c:v>
                </c:pt>
                <c:pt idx="2054">
                  <c:v>594</c:v>
                </c:pt>
                <c:pt idx="2055">
                  <c:v>595</c:v>
                </c:pt>
                <c:pt idx="2056">
                  <c:v>596</c:v>
                </c:pt>
                <c:pt idx="2057">
                  <c:v>597</c:v>
                </c:pt>
                <c:pt idx="2058">
                  <c:v>598</c:v>
                </c:pt>
                <c:pt idx="2059">
                  <c:v>599</c:v>
                </c:pt>
                <c:pt idx="2060">
                  <c:v>600</c:v>
                </c:pt>
                <c:pt idx="2061">
                  <c:v>601</c:v>
                </c:pt>
                <c:pt idx="2062">
                  <c:v>602</c:v>
                </c:pt>
                <c:pt idx="2063">
                  <c:v>603</c:v>
                </c:pt>
                <c:pt idx="2064">
                  <c:v>604</c:v>
                </c:pt>
                <c:pt idx="2065">
                  <c:v>605</c:v>
                </c:pt>
                <c:pt idx="2066">
                  <c:v>606</c:v>
                </c:pt>
                <c:pt idx="2067">
                  <c:v>607</c:v>
                </c:pt>
                <c:pt idx="2068">
                  <c:v>608</c:v>
                </c:pt>
                <c:pt idx="2069">
                  <c:v>609</c:v>
                </c:pt>
                <c:pt idx="2070">
                  <c:v>610</c:v>
                </c:pt>
                <c:pt idx="2071">
                  <c:v>611</c:v>
                </c:pt>
                <c:pt idx="2072">
                  <c:v>612</c:v>
                </c:pt>
                <c:pt idx="2073">
                  <c:v>613</c:v>
                </c:pt>
                <c:pt idx="2074">
                  <c:v>614</c:v>
                </c:pt>
                <c:pt idx="2075">
                  <c:v>615</c:v>
                </c:pt>
                <c:pt idx="2076">
                  <c:v>616</c:v>
                </c:pt>
                <c:pt idx="2077">
                  <c:v>617</c:v>
                </c:pt>
                <c:pt idx="2078">
                  <c:v>618</c:v>
                </c:pt>
                <c:pt idx="2079">
                  <c:v>619</c:v>
                </c:pt>
                <c:pt idx="2080">
                  <c:v>620</c:v>
                </c:pt>
                <c:pt idx="2081">
                  <c:v>621</c:v>
                </c:pt>
                <c:pt idx="2082">
                  <c:v>622</c:v>
                </c:pt>
                <c:pt idx="2083">
                  <c:v>623</c:v>
                </c:pt>
                <c:pt idx="2084">
                  <c:v>624</c:v>
                </c:pt>
                <c:pt idx="2085">
                  <c:v>625</c:v>
                </c:pt>
                <c:pt idx="2086">
                  <c:v>626</c:v>
                </c:pt>
                <c:pt idx="2087">
                  <c:v>627</c:v>
                </c:pt>
                <c:pt idx="2088">
                  <c:v>628</c:v>
                </c:pt>
                <c:pt idx="2089">
                  <c:v>629</c:v>
                </c:pt>
                <c:pt idx="2090">
                  <c:v>630</c:v>
                </c:pt>
                <c:pt idx="2091">
                  <c:v>631</c:v>
                </c:pt>
                <c:pt idx="2092">
                  <c:v>632</c:v>
                </c:pt>
                <c:pt idx="2093">
                  <c:v>633</c:v>
                </c:pt>
                <c:pt idx="2094">
                  <c:v>634</c:v>
                </c:pt>
                <c:pt idx="2095">
                  <c:v>635</c:v>
                </c:pt>
                <c:pt idx="2096">
                  <c:v>636</c:v>
                </c:pt>
                <c:pt idx="2097">
                  <c:v>637</c:v>
                </c:pt>
                <c:pt idx="2098">
                  <c:v>638</c:v>
                </c:pt>
                <c:pt idx="2099">
                  <c:v>639</c:v>
                </c:pt>
                <c:pt idx="2100">
                  <c:v>640</c:v>
                </c:pt>
                <c:pt idx="2101">
                  <c:v>641</c:v>
                </c:pt>
                <c:pt idx="2102">
                  <c:v>642</c:v>
                </c:pt>
                <c:pt idx="2103">
                  <c:v>643</c:v>
                </c:pt>
                <c:pt idx="2104">
                  <c:v>644</c:v>
                </c:pt>
                <c:pt idx="2105">
                  <c:v>645</c:v>
                </c:pt>
                <c:pt idx="2106">
                  <c:v>646</c:v>
                </c:pt>
                <c:pt idx="2107">
                  <c:v>647</c:v>
                </c:pt>
                <c:pt idx="2108">
                  <c:v>648</c:v>
                </c:pt>
                <c:pt idx="2109">
                  <c:v>649</c:v>
                </c:pt>
                <c:pt idx="2110">
                  <c:v>650</c:v>
                </c:pt>
                <c:pt idx="2111">
                  <c:v>651</c:v>
                </c:pt>
                <c:pt idx="2112">
                  <c:v>652</c:v>
                </c:pt>
                <c:pt idx="2113">
                  <c:v>653</c:v>
                </c:pt>
                <c:pt idx="2114">
                  <c:v>654</c:v>
                </c:pt>
                <c:pt idx="2115">
                  <c:v>655</c:v>
                </c:pt>
                <c:pt idx="2116">
                  <c:v>656</c:v>
                </c:pt>
                <c:pt idx="2117">
                  <c:v>657</c:v>
                </c:pt>
                <c:pt idx="2118">
                  <c:v>658</c:v>
                </c:pt>
                <c:pt idx="2119">
                  <c:v>659</c:v>
                </c:pt>
                <c:pt idx="2120">
                  <c:v>660</c:v>
                </c:pt>
                <c:pt idx="2121">
                  <c:v>661</c:v>
                </c:pt>
                <c:pt idx="2122">
                  <c:v>662</c:v>
                </c:pt>
                <c:pt idx="2123">
                  <c:v>663</c:v>
                </c:pt>
                <c:pt idx="2124">
                  <c:v>664</c:v>
                </c:pt>
                <c:pt idx="2125">
                  <c:v>665</c:v>
                </c:pt>
                <c:pt idx="2126">
                  <c:v>666</c:v>
                </c:pt>
                <c:pt idx="2127">
                  <c:v>667</c:v>
                </c:pt>
                <c:pt idx="2128">
                  <c:v>668</c:v>
                </c:pt>
                <c:pt idx="2129">
                  <c:v>669</c:v>
                </c:pt>
                <c:pt idx="2130">
                  <c:v>670</c:v>
                </c:pt>
                <c:pt idx="2131">
                  <c:v>671</c:v>
                </c:pt>
                <c:pt idx="2132">
                  <c:v>672</c:v>
                </c:pt>
                <c:pt idx="2133">
                  <c:v>673</c:v>
                </c:pt>
                <c:pt idx="2134">
                  <c:v>674</c:v>
                </c:pt>
                <c:pt idx="2135">
                  <c:v>675</c:v>
                </c:pt>
                <c:pt idx="2136">
                  <c:v>676</c:v>
                </c:pt>
                <c:pt idx="2137">
                  <c:v>677</c:v>
                </c:pt>
                <c:pt idx="2138">
                  <c:v>678</c:v>
                </c:pt>
                <c:pt idx="2139">
                  <c:v>679</c:v>
                </c:pt>
                <c:pt idx="2140">
                  <c:v>680</c:v>
                </c:pt>
                <c:pt idx="2141">
                  <c:v>681</c:v>
                </c:pt>
                <c:pt idx="2142">
                  <c:v>682</c:v>
                </c:pt>
                <c:pt idx="2143">
                  <c:v>683</c:v>
                </c:pt>
                <c:pt idx="2144">
                  <c:v>684</c:v>
                </c:pt>
                <c:pt idx="2145">
                  <c:v>685</c:v>
                </c:pt>
                <c:pt idx="2146">
                  <c:v>686</c:v>
                </c:pt>
                <c:pt idx="2147">
                  <c:v>687</c:v>
                </c:pt>
                <c:pt idx="2148">
                  <c:v>688</c:v>
                </c:pt>
                <c:pt idx="2149">
                  <c:v>689</c:v>
                </c:pt>
                <c:pt idx="2150">
                  <c:v>690</c:v>
                </c:pt>
                <c:pt idx="2151">
                  <c:v>691</c:v>
                </c:pt>
                <c:pt idx="2152">
                  <c:v>692</c:v>
                </c:pt>
                <c:pt idx="2153">
                  <c:v>693</c:v>
                </c:pt>
                <c:pt idx="2154">
                  <c:v>694</c:v>
                </c:pt>
                <c:pt idx="2155">
                  <c:v>695</c:v>
                </c:pt>
                <c:pt idx="2156">
                  <c:v>696</c:v>
                </c:pt>
                <c:pt idx="2157">
                  <c:v>697</c:v>
                </c:pt>
                <c:pt idx="2158">
                  <c:v>698</c:v>
                </c:pt>
                <c:pt idx="2159">
                  <c:v>699</c:v>
                </c:pt>
                <c:pt idx="2160">
                  <c:v>700</c:v>
                </c:pt>
                <c:pt idx="2161">
                  <c:v>701</c:v>
                </c:pt>
                <c:pt idx="2162">
                  <c:v>702</c:v>
                </c:pt>
                <c:pt idx="2163">
                  <c:v>703</c:v>
                </c:pt>
                <c:pt idx="2164">
                  <c:v>704</c:v>
                </c:pt>
                <c:pt idx="2165">
                  <c:v>705</c:v>
                </c:pt>
                <c:pt idx="2166">
                  <c:v>706</c:v>
                </c:pt>
                <c:pt idx="2167">
                  <c:v>707</c:v>
                </c:pt>
                <c:pt idx="2168">
                  <c:v>708</c:v>
                </c:pt>
                <c:pt idx="2169">
                  <c:v>709</c:v>
                </c:pt>
                <c:pt idx="2170">
                  <c:v>710</c:v>
                </c:pt>
                <c:pt idx="2171">
                  <c:v>711</c:v>
                </c:pt>
                <c:pt idx="2172">
                  <c:v>712</c:v>
                </c:pt>
                <c:pt idx="2173">
                  <c:v>713</c:v>
                </c:pt>
                <c:pt idx="2174">
                  <c:v>714</c:v>
                </c:pt>
                <c:pt idx="2175">
                  <c:v>715</c:v>
                </c:pt>
                <c:pt idx="2176">
                  <c:v>716</c:v>
                </c:pt>
                <c:pt idx="2177">
                  <c:v>717</c:v>
                </c:pt>
                <c:pt idx="2178">
                  <c:v>718</c:v>
                </c:pt>
                <c:pt idx="2179">
                  <c:v>719</c:v>
                </c:pt>
                <c:pt idx="2180">
                  <c:v>720</c:v>
                </c:pt>
                <c:pt idx="2181">
                  <c:v>721</c:v>
                </c:pt>
                <c:pt idx="2182">
                  <c:v>722</c:v>
                </c:pt>
                <c:pt idx="2183">
                  <c:v>723</c:v>
                </c:pt>
                <c:pt idx="2184">
                  <c:v>724</c:v>
                </c:pt>
                <c:pt idx="2185">
                  <c:v>725</c:v>
                </c:pt>
                <c:pt idx="2186">
                  <c:v>726</c:v>
                </c:pt>
                <c:pt idx="2187">
                  <c:v>727</c:v>
                </c:pt>
                <c:pt idx="2188">
                  <c:v>728</c:v>
                </c:pt>
                <c:pt idx="2189">
                  <c:v>729</c:v>
                </c:pt>
                <c:pt idx="2190">
                  <c:v>730</c:v>
                </c:pt>
                <c:pt idx="2191">
                  <c:v>731</c:v>
                </c:pt>
                <c:pt idx="2192">
                  <c:v>732</c:v>
                </c:pt>
                <c:pt idx="2193">
                  <c:v>733</c:v>
                </c:pt>
                <c:pt idx="2194">
                  <c:v>734</c:v>
                </c:pt>
                <c:pt idx="2195">
                  <c:v>735</c:v>
                </c:pt>
                <c:pt idx="2196">
                  <c:v>736</c:v>
                </c:pt>
                <c:pt idx="2197">
                  <c:v>737</c:v>
                </c:pt>
                <c:pt idx="2198">
                  <c:v>738</c:v>
                </c:pt>
                <c:pt idx="2199">
                  <c:v>739</c:v>
                </c:pt>
                <c:pt idx="2200">
                  <c:v>740</c:v>
                </c:pt>
                <c:pt idx="2201">
                  <c:v>741</c:v>
                </c:pt>
                <c:pt idx="2202">
                  <c:v>742</c:v>
                </c:pt>
                <c:pt idx="2203">
                  <c:v>743</c:v>
                </c:pt>
                <c:pt idx="2204">
                  <c:v>744</c:v>
                </c:pt>
                <c:pt idx="2205">
                  <c:v>745</c:v>
                </c:pt>
                <c:pt idx="2206">
                  <c:v>746</c:v>
                </c:pt>
                <c:pt idx="2207">
                  <c:v>747</c:v>
                </c:pt>
                <c:pt idx="2208">
                  <c:v>748</c:v>
                </c:pt>
                <c:pt idx="2209">
                  <c:v>749</c:v>
                </c:pt>
                <c:pt idx="2210">
                  <c:v>750</c:v>
                </c:pt>
                <c:pt idx="2211">
                  <c:v>751</c:v>
                </c:pt>
                <c:pt idx="2212">
                  <c:v>752</c:v>
                </c:pt>
                <c:pt idx="2213">
                  <c:v>753</c:v>
                </c:pt>
                <c:pt idx="2214">
                  <c:v>754</c:v>
                </c:pt>
                <c:pt idx="2215">
                  <c:v>755</c:v>
                </c:pt>
                <c:pt idx="2216">
                  <c:v>756</c:v>
                </c:pt>
                <c:pt idx="2217">
                  <c:v>757</c:v>
                </c:pt>
                <c:pt idx="2218">
                  <c:v>758</c:v>
                </c:pt>
                <c:pt idx="2219">
                  <c:v>759</c:v>
                </c:pt>
                <c:pt idx="2220">
                  <c:v>760</c:v>
                </c:pt>
                <c:pt idx="2221">
                  <c:v>761</c:v>
                </c:pt>
                <c:pt idx="2222">
                  <c:v>762</c:v>
                </c:pt>
                <c:pt idx="2223">
                  <c:v>763</c:v>
                </c:pt>
                <c:pt idx="2224">
                  <c:v>764</c:v>
                </c:pt>
                <c:pt idx="2225">
                  <c:v>765</c:v>
                </c:pt>
                <c:pt idx="2226">
                  <c:v>766</c:v>
                </c:pt>
                <c:pt idx="2227">
                  <c:v>767</c:v>
                </c:pt>
                <c:pt idx="2228">
                  <c:v>768</c:v>
                </c:pt>
                <c:pt idx="2229">
                  <c:v>769</c:v>
                </c:pt>
                <c:pt idx="2230">
                  <c:v>770</c:v>
                </c:pt>
                <c:pt idx="2231">
                  <c:v>771</c:v>
                </c:pt>
                <c:pt idx="2232">
                  <c:v>772</c:v>
                </c:pt>
                <c:pt idx="2233">
                  <c:v>773</c:v>
                </c:pt>
                <c:pt idx="2234">
                  <c:v>774</c:v>
                </c:pt>
                <c:pt idx="2235">
                  <c:v>775</c:v>
                </c:pt>
                <c:pt idx="2236">
                  <c:v>776</c:v>
                </c:pt>
                <c:pt idx="2237">
                  <c:v>777</c:v>
                </c:pt>
                <c:pt idx="2238">
                  <c:v>778</c:v>
                </c:pt>
                <c:pt idx="2239">
                  <c:v>779</c:v>
                </c:pt>
                <c:pt idx="2240">
                  <c:v>780</c:v>
                </c:pt>
                <c:pt idx="2241">
                  <c:v>781</c:v>
                </c:pt>
                <c:pt idx="2242">
                  <c:v>782</c:v>
                </c:pt>
                <c:pt idx="2243">
                  <c:v>783</c:v>
                </c:pt>
                <c:pt idx="2244">
                  <c:v>784</c:v>
                </c:pt>
                <c:pt idx="2245">
                  <c:v>785</c:v>
                </c:pt>
                <c:pt idx="2246">
                  <c:v>786</c:v>
                </c:pt>
                <c:pt idx="2247">
                  <c:v>787</c:v>
                </c:pt>
                <c:pt idx="2248">
                  <c:v>788</c:v>
                </c:pt>
                <c:pt idx="2249">
                  <c:v>789</c:v>
                </c:pt>
                <c:pt idx="2250">
                  <c:v>790</c:v>
                </c:pt>
                <c:pt idx="2251">
                  <c:v>791</c:v>
                </c:pt>
                <c:pt idx="2252">
                  <c:v>792</c:v>
                </c:pt>
                <c:pt idx="2253">
                  <c:v>793</c:v>
                </c:pt>
                <c:pt idx="2254">
                  <c:v>794</c:v>
                </c:pt>
                <c:pt idx="2255">
                  <c:v>795</c:v>
                </c:pt>
                <c:pt idx="2256">
                  <c:v>796</c:v>
                </c:pt>
                <c:pt idx="2257">
                  <c:v>797</c:v>
                </c:pt>
                <c:pt idx="2258">
                  <c:v>798</c:v>
                </c:pt>
                <c:pt idx="2259">
                  <c:v>799</c:v>
                </c:pt>
                <c:pt idx="2260">
                  <c:v>800</c:v>
                </c:pt>
                <c:pt idx="2261">
                  <c:v>801</c:v>
                </c:pt>
                <c:pt idx="2262">
                  <c:v>802</c:v>
                </c:pt>
                <c:pt idx="2263">
                  <c:v>803</c:v>
                </c:pt>
                <c:pt idx="2264">
                  <c:v>804</c:v>
                </c:pt>
                <c:pt idx="2265">
                  <c:v>805</c:v>
                </c:pt>
                <c:pt idx="2266">
                  <c:v>806</c:v>
                </c:pt>
                <c:pt idx="2267">
                  <c:v>807</c:v>
                </c:pt>
                <c:pt idx="2268">
                  <c:v>808</c:v>
                </c:pt>
                <c:pt idx="2269">
                  <c:v>809</c:v>
                </c:pt>
                <c:pt idx="2270">
                  <c:v>810</c:v>
                </c:pt>
                <c:pt idx="2271">
                  <c:v>811</c:v>
                </c:pt>
                <c:pt idx="2272">
                  <c:v>812</c:v>
                </c:pt>
                <c:pt idx="2273">
                  <c:v>813</c:v>
                </c:pt>
                <c:pt idx="2274">
                  <c:v>814</c:v>
                </c:pt>
                <c:pt idx="2275">
                  <c:v>815</c:v>
                </c:pt>
                <c:pt idx="2276">
                  <c:v>816</c:v>
                </c:pt>
                <c:pt idx="2277">
                  <c:v>817</c:v>
                </c:pt>
                <c:pt idx="2278">
                  <c:v>818</c:v>
                </c:pt>
                <c:pt idx="2279">
                  <c:v>819</c:v>
                </c:pt>
                <c:pt idx="2280">
                  <c:v>820</c:v>
                </c:pt>
                <c:pt idx="2281">
                  <c:v>821</c:v>
                </c:pt>
                <c:pt idx="2282">
                  <c:v>822</c:v>
                </c:pt>
                <c:pt idx="2283">
                  <c:v>823</c:v>
                </c:pt>
                <c:pt idx="2284">
                  <c:v>824</c:v>
                </c:pt>
                <c:pt idx="2285">
                  <c:v>825</c:v>
                </c:pt>
                <c:pt idx="2286">
                  <c:v>826</c:v>
                </c:pt>
                <c:pt idx="2287">
                  <c:v>827</c:v>
                </c:pt>
                <c:pt idx="2288">
                  <c:v>828</c:v>
                </c:pt>
                <c:pt idx="2289">
                  <c:v>829</c:v>
                </c:pt>
                <c:pt idx="2290">
                  <c:v>830</c:v>
                </c:pt>
                <c:pt idx="2291">
                  <c:v>831</c:v>
                </c:pt>
                <c:pt idx="2292">
                  <c:v>832</c:v>
                </c:pt>
                <c:pt idx="2293">
                  <c:v>833</c:v>
                </c:pt>
                <c:pt idx="2294">
                  <c:v>834</c:v>
                </c:pt>
                <c:pt idx="2295">
                  <c:v>835</c:v>
                </c:pt>
                <c:pt idx="2296">
                  <c:v>836</c:v>
                </c:pt>
                <c:pt idx="2297">
                  <c:v>837</c:v>
                </c:pt>
                <c:pt idx="2298">
                  <c:v>838</c:v>
                </c:pt>
                <c:pt idx="2299">
                  <c:v>839</c:v>
                </c:pt>
                <c:pt idx="2300">
                  <c:v>840</c:v>
                </c:pt>
                <c:pt idx="2301">
                  <c:v>841</c:v>
                </c:pt>
                <c:pt idx="2302">
                  <c:v>842</c:v>
                </c:pt>
                <c:pt idx="2303">
                  <c:v>843</c:v>
                </c:pt>
                <c:pt idx="2304">
                  <c:v>844</c:v>
                </c:pt>
                <c:pt idx="2305">
                  <c:v>845</c:v>
                </c:pt>
                <c:pt idx="2306">
                  <c:v>846</c:v>
                </c:pt>
                <c:pt idx="2307">
                  <c:v>847</c:v>
                </c:pt>
                <c:pt idx="2308">
                  <c:v>848</c:v>
                </c:pt>
                <c:pt idx="2309">
                  <c:v>849</c:v>
                </c:pt>
                <c:pt idx="2310">
                  <c:v>850</c:v>
                </c:pt>
                <c:pt idx="2311">
                  <c:v>851</c:v>
                </c:pt>
                <c:pt idx="2312">
                  <c:v>852</c:v>
                </c:pt>
                <c:pt idx="2313">
                  <c:v>853</c:v>
                </c:pt>
                <c:pt idx="2314">
                  <c:v>854</c:v>
                </c:pt>
                <c:pt idx="2315">
                  <c:v>855</c:v>
                </c:pt>
                <c:pt idx="2316">
                  <c:v>856</c:v>
                </c:pt>
                <c:pt idx="2317">
                  <c:v>857</c:v>
                </c:pt>
                <c:pt idx="2318">
                  <c:v>858</c:v>
                </c:pt>
                <c:pt idx="2319">
                  <c:v>859</c:v>
                </c:pt>
                <c:pt idx="2320">
                  <c:v>860</c:v>
                </c:pt>
                <c:pt idx="2321">
                  <c:v>861</c:v>
                </c:pt>
                <c:pt idx="2322">
                  <c:v>862</c:v>
                </c:pt>
                <c:pt idx="2323">
                  <c:v>863</c:v>
                </c:pt>
                <c:pt idx="2324">
                  <c:v>864</c:v>
                </c:pt>
                <c:pt idx="2325">
                  <c:v>865</c:v>
                </c:pt>
                <c:pt idx="2326">
                  <c:v>866</c:v>
                </c:pt>
                <c:pt idx="2327">
                  <c:v>867</c:v>
                </c:pt>
                <c:pt idx="2328">
                  <c:v>868</c:v>
                </c:pt>
                <c:pt idx="2329">
                  <c:v>869</c:v>
                </c:pt>
                <c:pt idx="2330">
                  <c:v>870</c:v>
                </c:pt>
                <c:pt idx="2331">
                  <c:v>871</c:v>
                </c:pt>
                <c:pt idx="2332">
                  <c:v>872</c:v>
                </c:pt>
                <c:pt idx="2333">
                  <c:v>873</c:v>
                </c:pt>
                <c:pt idx="2334">
                  <c:v>874</c:v>
                </c:pt>
                <c:pt idx="2335">
                  <c:v>875</c:v>
                </c:pt>
                <c:pt idx="2336">
                  <c:v>876</c:v>
                </c:pt>
                <c:pt idx="2337">
                  <c:v>877</c:v>
                </c:pt>
                <c:pt idx="2338">
                  <c:v>878</c:v>
                </c:pt>
                <c:pt idx="2339">
                  <c:v>879</c:v>
                </c:pt>
                <c:pt idx="2340">
                  <c:v>880</c:v>
                </c:pt>
                <c:pt idx="2341">
                  <c:v>881</c:v>
                </c:pt>
                <c:pt idx="2342">
                  <c:v>882</c:v>
                </c:pt>
                <c:pt idx="2343">
                  <c:v>883</c:v>
                </c:pt>
                <c:pt idx="2344">
                  <c:v>884</c:v>
                </c:pt>
                <c:pt idx="2345">
                  <c:v>885</c:v>
                </c:pt>
                <c:pt idx="2346">
                  <c:v>886</c:v>
                </c:pt>
                <c:pt idx="2347">
                  <c:v>887</c:v>
                </c:pt>
                <c:pt idx="2348">
                  <c:v>888</c:v>
                </c:pt>
                <c:pt idx="2349">
                  <c:v>889</c:v>
                </c:pt>
                <c:pt idx="2350">
                  <c:v>890</c:v>
                </c:pt>
                <c:pt idx="2351">
                  <c:v>891</c:v>
                </c:pt>
                <c:pt idx="2352">
                  <c:v>892</c:v>
                </c:pt>
                <c:pt idx="2353">
                  <c:v>893</c:v>
                </c:pt>
                <c:pt idx="2354">
                  <c:v>894</c:v>
                </c:pt>
                <c:pt idx="2355">
                  <c:v>895</c:v>
                </c:pt>
                <c:pt idx="2356">
                  <c:v>896</c:v>
                </c:pt>
                <c:pt idx="2357">
                  <c:v>897</c:v>
                </c:pt>
                <c:pt idx="2358">
                  <c:v>898</c:v>
                </c:pt>
                <c:pt idx="2359">
                  <c:v>899</c:v>
                </c:pt>
                <c:pt idx="2360">
                  <c:v>900</c:v>
                </c:pt>
                <c:pt idx="2361">
                  <c:v>901</c:v>
                </c:pt>
                <c:pt idx="2362">
                  <c:v>902</c:v>
                </c:pt>
                <c:pt idx="2363">
                  <c:v>903</c:v>
                </c:pt>
                <c:pt idx="2364">
                  <c:v>904</c:v>
                </c:pt>
                <c:pt idx="2365">
                  <c:v>905</c:v>
                </c:pt>
                <c:pt idx="2366">
                  <c:v>906</c:v>
                </c:pt>
                <c:pt idx="2367">
                  <c:v>907</c:v>
                </c:pt>
                <c:pt idx="2368">
                  <c:v>908</c:v>
                </c:pt>
                <c:pt idx="2369">
                  <c:v>909</c:v>
                </c:pt>
                <c:pt idx="2370">
                  <c:v>910</c:v>
                </c:pt>
                <c:pt idx="2371">
                  <c:v>911</c:v>
                </c:pt>
                <c:pt idx="2372">
                  <c:v>912</c:v>
                </c:pt>
                <c:pt idx="2373">
                  <c:v>913</c:v>
                </c:pt>
                <c:pt idx="2374">
                  <c:v>914</c:v>
                </c:pt>
                <c:pt idx="2375">
                  <c:v>915</c:v>
                </c:pt>
                <c:pt idx="2376">
                  <c:v>916</c:v>
                </c:pt>
                <c:pt idx="2377">
                  <c:v>917</c:v>
                </c:pt>
                <c:pt idx="2378">
                  <c:v>918</c:v>
                </c:pt>
                <c:pt idx="2379">
                  <c:v>919</c:v>
                </c:pt>
                <c:pt idx="2380">
                  <c:v>920</c:v>
                </c:pt>
                <c:pt idx="2381">
                  <c:v>921</c:v>
                </c:pt>
                <c:pt idx="2382">
                  <c:v>922</c:v>
                </c:pt>
                <c:pt idx="2383">
                  <c:v>923</c:v>
                </c:pt>
                <c:pt idx="2384">
                  <c:v>924</c:v>
                </c:pt>
                <c:pt idx="2385">
                  <c:v>925</c:v>
                </c:pt>
                <c:pt idx="2386">
                  <c:v>926</c:v>
                </c:pt>
                <c:pt idx="2387">
                  <c:v>927</c:v>
                </c:pt>
                <c:pt idx="2388">
                  <c:v>928</c:v>
                </c:pt>
                <c:pt idx="2389">
                  <c:v>929</c:v>
                </c:pt>
                <c:pt idx="2390">
                  <c:v>930</c:v>
                </c:pt>
                <c:pt idx="2391">
                  <c:v>931</c:v>
                </c:pt>
                <c:pt idx="2392">
                  <c:v>932</c:v>
                </c:pt>
                <c:pt idx="2393">
                  <c:v>933</c:v>
                </c:pt>
                <c:pt idx="2394">
                  <c:v>934</c:v>
                </c:pt>
                <c:pt idx="2395">
                  <c:v>935</c:v>
                </c:pt>
                <c:pt idx="2396">
                  <c:v>936</c:v>
                </c:pt>
                <c:pt idx="2397">
                  <c:v>937</c:v>
                </c:pt>
                <c:pt idx="2398">
                  <c:v>938</c:v>
                </c:pt>
                <c:pt idx="2399">
                  <c:v>939</c:v>
                </c:pt>
                <c:pt idx="2400">
                  <c:v>940</c:v>
                </c:pt>
                <c:pt idx="2401">
                  <c:v>941</c:v>
                </c:pt>
                <c:pt idx="2402">
                  <c:v>942</c:v>
                </c:pt>
                <c:pt idx="2403">
                  <c:v>943</c:v>
                </c:pt>
                <c:pt idx="2404">
                  <c:v>944</c:v>
                </c:pt>
                <c:pt idx="2405">
                  <c:v>945</c:v>
                </c:pt>
                <c:pt idx="2406">
                  <c:v>946</c:v>
                </c:pt>
                <c:pt idx="2407">
                  <c:v>947</c:v>
                </c:pt>
                <c:pt idx="2408">
                  <c:v>948</c:v>
                </c:pt>
                <c:pt idx="2409">
                  <c:v>949</c:v>
                </c:pt>
                <c:pt idx="2410">
                  <c:v>950</c:v>
                </c:pt>
                <c:pt idx="2411">
                  <c:v>951</c:v>
                </c:pt>
                <c:pt idx="2412">
                  <c:v>952</c:v>
                </c:pt>
                <c:pt idx="2413">
                  <c:v>953</c:v>
                </c:pt>
                <c:pt idx="2414">
                  <c:v>954</c:v>
                </c:pt>
                <c:pt idx="2415">
                  <c:v>955</c:v>
                </c:pt>
                <c:pt idx="2416">
                  <c:v>956</c:v>
                </c:pt>
                <c:pt idx="2417">
                  <c:v>957</c:v>
                </c:pt>
                <c:pt idx="2418">
                  <c:v>958</c:v>
                </c:pt>
                <c:pt idx="2419">
                  <c:v>959</c:v>
                </c:pt>
                <c:pt idx="2420">
                  <c:v>960</c:v>
                </c:pt>
                <c:pt idx="2421">
                  <c:v>961</c:v>
                </c:pt>
                <c:pt idx="2422">
                  <c:v>962</c:v>
                </c:pt>
                <c:pt idx="2423">
                  <c:v>963</c:v>
                </c:pt>
                <c:pt idx="2424">
                  <c:v>964</c:v>
                </c:pt>
                <c:pt idx="2425">
                  <c:v>965</c:v>
                </c:pt>
                <c:pt idx="2426">
                  <c:v>966</c:v>
                </c:pt>
                <c:pt idx="2427">
                  <c:v>967</c:v>
                </c:pt>
                <c:pt idx="2428">
                  <c:v>968</c:v>
                </c:pt>
                <c:pt idx="2429">
                  <c:v>969</c:v>
                </c:pt>
                <c:pt idx="2430">
                  <c:v>970</c:v>
                </c:pt>
                <c:pt idx="2431">
                  <c:v>971</c:v>
                </c:pt>
                <c:pt idx="2432">
                  <c:v>972</c:v>
                </c:pt>
                <c:pt idx="2433">
                  <c:v>973</c:v>
                </c:pt>
                <c:pt idx="2434">
                  <c:v>974</c:v>
                </c:pt>
                <c:pt idx="2435">
                  <c:v>975</c:v>
                </c:pt>
                <c:pt idx="2436">
                  <c:v>976</c:v>
                </c:pt>
                <c:pt idx="2437">
                  <c:v>977</c:v>
                </c:pt>
                <c:pt idx="2438">
                  <c:v>978</c:v>
                </c:pt>
                <c:pt idx="2439">
                  <c:v>979</c:v>
                </c:pt>
                <c:pt idx="2440">
                  <c:v>980</c:v>
                </c:pt>
                <c:pt idx="2441">
                  <c:v>981</c:v>
                </c:pt>
                <c:pt idx="2442">
                  <c:v>982</c:v>
                </c:pt>
                <c:pt idx="2443">
                  <c:v>983</c:v>
                </c:pt>
                <c:pt idx="2444">
                  <c:v>984</c:v>
                </c:pt>
                <c:pt idx="2445">
                  <c:v>985</c:v>
                </c:pt>
                <c:pt idx="2446">
                  <c:v>986</c:v>
                </c:pt>
                <c:pt idx="2447">
                  <c:v>987</c:v>
                </c:pt>
                <c:pt idx="2448">
                  <c:v>988</c:v>
                </c:pt>
                <c:pt idx="2449">
                  <c:v>989</c:v>
                </c:pt>
                <c:pt idx="2450">
                  <c:v>990</c:v>
                </c:pt>
                <c:pt idx="2451">
                  <c:v>991</c:v>
                </c:pt>
                <c:pt idx="2452">
                  <c:v>992</c:v>
                </c:pt>
                <c:pt idx="2453">
                  <c:v>993</c:v>
                </c:pt>
                <c:pt idx="2454">
                  <c:v>994</c:v>
                </c:pt>
                <c:pt idx="2455">
                  <c:v>995</c:v>
                </c:pt>
                <c:pt idx="2456">
                  <c:v>996</c:v>
                </c:pt>
                <c:pt idx="2457">
                  <c:v>997</c:v>
                </c:pt>
                <c:pt idx="2458">
                  <c:v>998</c:v>
                </c:pt>
                <c:pt idx="2459">
                  <c:v>999</c:v>
                </c:pt>
                <c:pt idx="2460">
                  <c:v>1000</c:v>
                </c:pt>
                <c:pt idx="2461">
                  <c:v>1001</c:v>
                </c:pt>
                <c:pt idx="2462">
                  <c:v>1002</c:v>
                </c:pt>
                <c:pt idx="2463">
                  <c:v>1003</c:v>
                </c:pt>
                <c:pt idx="2464">
                  <c:v>1004</c:v>
                </c:pt>
                <c:pt idx="2465">
                  <c:v>1005</c:v>
                </c:pt>
                <c:pt idx="2466">
                  <c:v>1006</c:v>
                </c:pt>
                <c:pt idx="2467">
                  <c:v>1007</c:v>
                </c:pt>
                <c:pt idx="2468">
                  <c:v>1008</c:v>
                </c:pt>
                <c:pt idx="2469">
                  <c:v>1009</c:v>
                </c:pt>
                <c:pt idx="2470">
                  <c:v>1010</c:v>
                </c:pt>
                <c:pt idx="2471">
                  <c:v>1011</c:v>
                </c:pt>
                <c:pt idx="2472">
                  <c:v>1012</c:v>
                </c:pt>
                <c:pt idx="2473">
                  <c:v>1013</c:v>
                </c:pt>
                <c:pt idx="2474">
                  <c:v>1014</c:v>
                </c:pt>
                <c:pt idx="2475">
                  <c:v>1015</c:v>
                </c:pt>
                <c:pt idx="2476">
                  <c:v>1016</c:v>
                </c:pt>
                <c:pt idx="2477">
                  <c:v>1017</c:v>
                </c:pt>
                <c:pt idx="2478">
                  <c:v>1018</c:v>
                </c:pt>
                <c:pt idx="2479">
                  <c:v>1019</c:v>
                </c:pt>
                <c:pt idx="2480">
                  <c:v>1020</c:v>
                </c:pt>
                <c:pt idx="2481">
                  <c:v>1021</c:v>
                </c:pt>
                <c:pt idx="2482">
                  <c:v>1022</c:v>
                </c:pt>
                <c:pt idx="2483">
                  <c:v>1023</c:v>
                </c:pt>
                <c:pt idx="2484">
                  <c:v>1024</c:v>
                </c:pt>
                <c:pt idx="2485">
                  <c:v>1025</c:v>
                </c:pt>
                <c:pt idx="2486">
                  <c:v>1026</c:v>
                </c:pt>
                <c:pt idx="2487">
                  <c:v>1027</c:v>
                </c:pt>
                <c:pt idx="2488">
                  <c:v>1028</c:v>
                </c:pt>
                <c:pt idx="2489">
                  <c:v>1029</c:v>
                </c:pt>
                <c:pt idx="2490">
                  <c:v>1030</c:v>
                </c:pt>
                <c:pt idx="2491">
                  <c:v>1031</c:v>
                </c:pt>
                <c:pt idx="2492">
                  <c:v>1032</c:v>
                </c:pt>
                <c:pt idx="2493">
                  <c:v>1033</c:v>
                </c:pt>
                <c:pt idx="2494">
                  <c:v>1034</c:v>
                </c:pt>
                <c:pt idx="2495">
                  <c:v>1035</c:v>
                </c:pt>
                <c:pt idx="2496">
                  <c:v>1036</c:v>
                </c:pt>
                <c:pt idx="2497">
                  <c:v>1037</c:v>
                </c:pt>
                <c:pt idx="2498">
                  <c:v>1038</c:v>
                </c:pt>
                <c:pt idx="2499">
                  <c:v>1039</c:v>
                </c:pt>
                <c:pt idx="2500">
                  <c:v>1040</c:v>
                </c:pt>
                <c:pt idx="2501">
                  <c:v>1041</c:v>
                </c:pt>
                <c:pt idx="2502">
                  <c:v>1042</c:v>
                </c:pt>
                <c:pt idx="2503">
                  <c:v>1043</c:v>
                </c:pt>
                <c:pt idx="2504">
                  <c:v>1044</c:v>
                </c:pt>
                <c:pt idx="2505">
                  <c:v>1045</c:v>
                </c:pt>
                <c:pt idx="2506">
                  <c:v>1046</c:v>
                </c:pt>
                <c:pt idx="2507">
                  <c:v>1047</c:v>
                </c:pt>
                <c:pt idx="2508">
                  <c:v>1048</c:v>
                </c:pt>
                <c:pt idx="2509">
                  <c:v>1049</c:v>
                </c:pt>
                <c:pt idx="2510">
                  <c:v>1050</c:v>
                </c:pt>
                <c:pt idx="2511">
                  <c:v>1051</c:v>
                </c:pt>
                <c:pt idx="2512">
                  <c:v>1052</c:v>
                </c:pt>
                <c:pt idx="2513">
                  <c:v>1053</c:v>
                </c:pt>
                <c:pt idx="2514">
                  <c:v>1054</c:v>
                </c:pt>
                <c:pt idx="2515">
                  <c:v>1055</c:v>
                </c:pt>
                <c:pt idx="2516">
                  <c:v>1056</c:v>
                </c:pt>
                <c:pt idx="2517">
                  <c:v>1057</c:v>
                </c:pt>
                <c:pt idx="2518">
                  <c:v>1058</c:v>
                </c:pt>
                <c:pt idx="2519">
                  <c:v>1059</c:v>
                </c:pt>
                <c:pt idx="2520">
                  <c:v>1060</c:v>
                </c:pt>
                <c:pt idx="2521">
                  <c:v>1061</c:v>
                </c:pt>
                <c:pt idx="2522">
                  <c:v>1062</c:v>
                </c:pt>
                <c:pt idx="2523">
                  <c:v>1063</c:v>
                </c:pt>
                <c:pt idx="2524">
                  <c:v>1064</c:v>
                </c:pt>
                <c:pt idx="2525">
                  <c:v>1065</c:v>
                </c:pt>
                <c:pt idx="2526">
                  <c:v>1066</c:v>
                </c:pt>
                <c:pt idx="2527">
                  <c:v>1067</c:v>
                </c:pt>
                <c:pt idx="2528">
                  <c:v>1068</c:v>
                </c:pt>
                <c:pt idx="2529">
                  <c:v>1069</c:v>
                </c:pt>
                <c:pt idx="2530">
                  <c:v>1070</c:v>
                </c:pt>
                <c:pt idx="2531">
                  <c:v>1071</c:v>
                </c:pt>
                <c:pt idx="2532">
                  <c:v>1072</c:v>
                </c:pt>
                <c:pt idx="2533">
                  <c:v>1073</c:v>
                </c:pt>
                <c:pt idx="2534">
                  <c:v>1074</c:v>
                </c:pt>
                <c:pt idx="2535">
                  <c:v>1075</c:v>
                </c:pt>
                <c:pt idx="2536">
                  <c:v>1076</c:v>
                </c:pt>
                <c:pt idx="2537">
                  <c:v>1077</c:v>
                </c:pt>
                <c:pt idx="2538">
                  <c:v>1078</c:v>
                </c:pt>
                <c:pt idx="2539">
                  <c:v>1079</c:v>
                </c:pt>
                <c:pt idx="2540">
                  <c:v>1080</c:v>
                </c:pt>
                <c:pt idx="2541">
                  <c:v>1081</c:v>
                </c:pt>
                <c:pt idx="2542">
                  <c:v>1082</c:v>
                </c:pt>
                <c:pt idx="2543">
                  <c:v>1083</c:v>
                </c:pt>
                <c:pt idx="2544">
                  <c:v>1084</c:v>
                </c:pt>
                <c:pt idx="2545">
                  <c:v>1085</c:v>
                </c:pt>
                <c:pt idx="2546">
                  <c:v>1086</c:v>
                </c:pt>
                <c:pt idx="2547">
                  <c:v>1087</c:v>
                </c:pt>
                <c:pt idx="2548">
                  <c:v>1088</c:v>
                </c:pt>
                <c:pt idx="2549">
                  <c:v>1089</c:v>
                </c:pt>
                <c:pt idx="2550">
                  <c:v>1090</c:v>
                </c:pt>
                <c:pt idx="2551">
                  <c:v>1091</c:v>
                </c:pt>
                <c:pt idx="2552">
                  <c:v>1092</c:v>
                </c:pt>
                <c:pt idx="2553">
                  <c:v>1093</c:v>
                </c:pt>
                <c:pt idx="2554">
                  <c:v>1094</c:v>
                </c:pt>
                <c:pt idx="2555">
                  <c:v>1095</c:v>
                </c:pt>
                <c:pt idx="2556">
                  <c:v>1096</c:v>
                </c:pt>
                <c:pt idx="2557">
                  <c:v>1097</c:v>
                </c:pt>
                <c:pt idx="2558">
                  <c:v>1098</c:v>
                </c:pt>
                <c:pt idx="2559">
                  <c:v>1099</c:v>
                </c:pt>
                <c:pt idx="2560">
                  <c:v>1100</c:v>
                </c:pt>
                <c:pt idx="2561">
                  <c:v>1101</c:v>
                </c:pt>
                <c:pt idx="2562">
                  <c:v>1102</c:v>
                </c:pt>
                <c:pt idx="2563">
                  <c:v>1103</c:v>
                </c:pt>
                <c:pt idx="2564">
                  <c:v>1104</c:v>
                </c:pt>
                <c:pt idx="2565">
                  <c:v>1105</c:v>
                </c:pt>
                <c:pt idx="2566">
                  <c:v>1106</c:v>
                </c:pt>
                <c:pt idx="2567">
                  <c:v>1107</c:v>
                </c:pt>
                <c:pt idx="2568">
                  <c:v>1108</c:v>
                </c:pt>
                <c:pt idx="2569">
                  <c:v>1109</c:v>
                </c:pt>
                <c:pt idx="2570">
                  <c:v>1110</c:v>
                </c:pt>
                <c:pt idx="2571">
                  <c:v>1111</c:v>
                </c:pt>
                <c:pt idx="2572">
                  <c:v>1112</c:v>
                </c:pt>
                <c:pt idx="2573">
                  <c:v>1113</c:v>
                </c:pt>
                <c:pt idx="2574">
                  <c:v>1114</c:v>
                </c:pt>
                <c:pt idx="2575">
                  <c:v>1115</c:v>
                </c:pt>
                <c:pt idx="2576">
                  <c:v>1116</c:v>
                </c:pt>
                <c:pt idx="2577">
                  <c:v>1117</c:v>
                </c:pt>
                <c:pt idx="2578">
                  <c:v>1118</c:v>
                </c:pt>
                <c:pt idx="2579">
                  <c:v>1119</c:v>
                </c:pt>
                <c:pt idx="2580">
                  <c:v>1120</c:v>
                </c:pt>
                <c:pt idx="2581">
                  <c:v>1121</c:v>
                </c:pt>
                <c:pt idx="2582">
                  <c:v>1122</c:v>
                </c:pt>
                <c:pt idx="2583">
                  <c:v>1123</c:v>
                </c:pt>
                <c:pt idx="2584">
                  <c:v>1124</c:v>
                </c:pt>
                <c:pt idx="2585">
                  <c:v>1125</c:v>
                </c:pt>
                <c:pt idx="2586">
                  <c:v>1126</c:v>
                </c:pt>
                <c:pt idx="2587">
                  <c:v>1127</c:v>
                </c:pt>
                <c:pt idx="2588">
                  <c:v>1128</c:v>
                </c:pt>
                <c:pt idx="2589">
                  <c:v>1129</c:v>
                </c:pt>
                <c:pt idx="2590">
                  <c:v>1130</c:v>
                </c:pt>
                <c:pt idx="2591">
                  <c:v>1131</c:v>
                </c:pt>
                <c:pt idx="2592">
                  <c:v>1132</c:v>
                </c:pt>
                <c:pt idx="2593">
                  <c:v>1133</c:v>
                </c:pt>
                <c:pt idx="2594">
                  <c:v>1134</c:v>
                </c:pt>
                <c:pt idx="2595">
                  <c:v>1135</c:v>
                </c:pt>
                <c:pt idx="2596">
                  <c:v>1136</c:v>
                </c:pt>
                <c:pt idx="2597">
                  <c:v>1137</c:v>
                </c:pt>
                <c:pt idx="2598">
                  <c:v>1138</c:v>
                </c:pt>
                <c:pt idx="2599">
                  <c:v>1139</c:v>
                </c:pt>
                <c:pt idx="2600">
                  <c:v>1140</c:v>
                </c:pt>
                <c:pt idx="2601">
                  <c:v>1141</c:v>
                </c:pt>
                <c:pt idx="2602">
                  <c:v>1142</c:v>
                </c:pt>
                <c:pt idx="2603">
                  <c:v>1143</c:v>
                </c:pt>
                <c:pt idx="2604">
                  <c:v>1144</c:v>
                </c:pt>
                <c:pt idx="2605">
                  <c:v>1145</c:v>
                </c:pt>
                <c:pt idx="2606">
                  <c:v>1146</c:v>
                </c:pt>
                <c:pt idx="2607">
                  <c:v>1147</c:v>
                </c:pt>
                <c:pt idx="2608">
                  <c:v>1148</c:v>
                </c:pt>
                <c:pt idx="2609">
                  <c:v>1149</c:v>
                </c:pt>
                <c:pt idx="2610">
                  <c:v>1150</c:v>
                </c:pt>
                <c:pt idx="2611">
                  <c:v>1151</c:v>
                </c:pt>
                <c:pt idx="2612">
                  <c:v>1152</c:v>
                </c:pt>
                <c:pt idx="2613">
                  <c:v>1153</c:v>
                </c:pt>
                <c:pt idx="2614">
                  <c:v>1154</c:v>
                </c:pt>
                <c:pt idx="2615">
                  <c:v>1155</c:v>
                </c:pt>
                <c:pt idx="2616">
                  <c:v>1156</c:v>
                </c:pt>
                <c:pt idx="2617">
                  <c:v>1157</c:v>
                </c:pt>
                <c:pt idx="2618">
                  <c:v>1158</c:v>
                </c:pt>
                <c:pt idx="2619">
                  <c:v>1159</c:v>
                </c:pt>
                <c:pt idx="2620">
                  <c:v>1160</c:v>
                </c:pt>
                <c:pt idx="2621">
                  <c:v>1161</c:v>
                </c:pt>
                <c:pt idx="2622">
                  <c:v>1162</c:v>
                </c:pt>
                <c:pt idx="2623">
                  <c:v>1163</c:v>
                </c:pt>
                <c:pt idx="2624">
                  <c:v>1164</c:v>
                </c:pt>
                <c:pt idx="2625">
                  <c:v>1165</c:v>
                </c:pt>
                <c:pt idx="2626">
                  <c:v>1166</c:v>
                </c:pt>
                <c:pt idx="2627">
                  <c:v>1167</c:v>
                </c:pt>
                <c:pt idx="2628">
                  <c:v>1168</c:v>
                </c:pt>
                <c:pt idx="2629">
                  <c:v>1169</c:v>
                </c:pt>
                <c:pt idx="2630">
                  <c:v>1170</c:v>
                </c:pt>
                <c:pt idx="2631">
                  <c:v>1171</c:v>
                </c:pt>
                <c:pt idx="2632">
                  <c:v>1172</c:v>
                </c:pt>
                <c:pt idx="2633">
                  <c:v>1173</c:v>
                </c:pt>
                <c:pt idx="2634">
                  <c:v>1174</c:v>
                </c:pt>
                <c:pt idx="2635">
                  <c:v>1175</c:v>
                </c:pt>
                <c:pt idx="2636">
                  <c:v>1176</c:v>
                </c:pt>
                <c:pt idx="2637">
                  <c:v>1177</c:v>
                </c:pt>
                <c:pt idx="2638">
                  <c:v>1178</c:v>
                </c:pt>
                <c:pt idx="2639">
                  <c:v>1179</c:v>
                </c:pt>
                <c:pt idx="2640">
                  <c:v>1180</c:v>
                </c:pt>
                <c:pt idx="2641">
                  <c:v>1181</c:v>
                </c:pt>
                <c:pt idx="2642">
                  <c:v>1182</c:v>
                </c:pt>
                <c:pt idx="2643">
                  <c:v>1183</c:v>
                </c:pt>
                <c:pt idx="2644">
                  <c:v>1184</c:v>
                </c:pt>
                <c:pt idx="2645">
                  <c:v>1185</c:v>
                </c:pt>
                <c:pt idx="2646">
                  <c:v>1186</c:v>
                </c:pt>
                <c:pt idx="2647">
                  <c:v>1187</c:v>
                </c:pt>
                <c:pt idx="2648">
                  <c:v>1188</c:v>
                </c:pt>
                <c:pt idx="2649">
                  <c:v>1189</c:v>
                </c:pt>
                <c:pt idx="2650">
                  <c:v>1190</c:v>
                </c:pt>
                <c:pt idx="2651">
                  <c:v>1191</c:v>
                </c:pt>
                <c:pt idx="2652">
                  <c:v>1192</c:v>
                </c:pt>
                <c:pt idx="2653">
                  <c:v>1193</c:v>
                </c:pt>
                <c:pt idx="2654">
                  <c:v>1194</c:v>
                </c:pt>
                <c:pt idx="2655">
                  <c:v>1195</c:v>
                </c:pt>
                <c:pt idx="2656">
                  <c:v>1196</c:v>
                </c:pt>
                <c:pt idx="2657">
                  <c:v>1197</c:v>
                </c:pt>
                <c:pt idx="2658">
                  <c:v>1198</c:v>
                </c:pt>
                <c:pt idx="2659">
                  <c:v>1199</c:v>
                </c:pt>
                <c:pt idx="2660">
                  <c:v>1200</c:v>
                </c:pt>
                <c:pt idx="2661">
                  <c:v>1201</c:v>
                </c:pt>
                <c:pt idx="2662">
                  <c:v>1202</c:v>
                </c:pt>
                <c:pt idx="2663">
                  <c:v>1203</c:v>
                </c:pt>
                <c:pt idx="2664">
                  <c:v>1204</c:v>
                </c:pt>
                <c:pt idx="2665">
                  <c:v>1205</c:v>
                </c:pt>
                <c:pt idx="2666">
                  <c:v>1206</c:v>
                </c:pt>
                <c:pt idx="2667">
                  <c:v>1207</c:v>
                </c:pt>
                <c:pt idx="2668">
                  <c:v>1208</c:v>
                </c:pt>
                <c:pt idx="2669">
                  <c:v>1209</c:v>
                </c:pt>
                <c:pt idx="2670">
                  <c:v>1210</c:v>
                </c:pt>
                <c:pt idx="2671">
                  <c:v>1211</c:v>
                </c:pt>
                <c:pt idx="2672">
                  <c:v>1212</c:v>
                </c:pt>
                <c:pt idx="2673">
                  <c:v>1213</c:v>
                </c:pt>
                <c:pt idx="2674">
                  <c:v>1214</c:v>
                </c:pt>
                <c:pt idx="2675">
                  <c:v>1215</c:v>
                </c:pt>
                <c:pt idx="2676">
                  <c:v>1216</c:v>
                </c:pt>
                <c:pt idx="2677">
                  <c:v>1217</c:v>
                </c:pt>
                <c:pt idx="2678">
                  <c:v>1218</c:v>
                </c:pt>
                <c:pt idx="2679">
                  <c:v>1219</c:v>
                </c:pt>
                <c:pt idx="2680">
                  <c:v>1220</c:v>
                </c:pt>
                <c:pt idx="2681">
                  <c:v>1221</c:v>
                </c:pt>
                <c:pt idx="2682">
                  <c:v>1222</c:v>
                </c:pt>
                <c:pt idx="2683">
                  <c:v>1223</c:v>
                </c:pt>
                <c:pt idx="2684">
                  <c:v>1224</c:v>
                </c:pt>
                <c:pt idx="2685">
                  <c:v>1225</c:v>
                </c:pt>
                <c:pt idx="2686">
                  <c:v>1226</c:v>
                </c:pt>
                <c:pt idx="2687">
                  <c:v>1227</c:v>
                </c:pt>
                <c:pt idx="2688">
                  <c:v>1228</c:v>
                </c:pt>
                <c:pt idx="2689">
                  <c:v>1229</c:v>
                </c:pt>
                <c:pt idx="2690">
                  <c:v>1230</c:v>
                </c:pt>
                <c:pt idx="2691">
                  <c:v>1231</c:v>
                </c:pt>
                <c:pt idx="2692">
                  <c:v>1232</c:v>
                </c:pt>
                <c:pt idx="2693">
                  <c:v>1233</c:v>
                </c:pt>
                <c:pt idx="2694">
                  <c:v>1234</c:v>
                </c:pt>
                <c:pt idx="2695">
                  <c:v>1235</c:v>
                </c:pt>
                <c:pt idx="2696">
                  <c:v>1236</c:v>
                </c:pt>
                <c:pt idx="2697">
                  <c:v>1237</c:v>
                </c:pt>
                <c:pt idx="2698">
                  <c:v>1238</c:v>
                </c:pt>
                <c:pt idx="2699">
                  <c:v>1239</c:v>
                </c:pt>
                <c:pt idx="2700">
                  <c:v>1240</c:v>
                </c:pt>
                <c:pt idx="2701">
                  <c:v>1241</c:v>
                </c:pt>
                <c:pt idx="2702">
                  <c:v>1242</c:v>
                </c:pt>
                <c:pt idx="2703">
                  <c:v>1243</c:v>
                </c:pt>
                <c:pt idx="2704">
                  <c:v>1244</c:v>
                </c:pt>
                <c:pt idx="2705">
                  <c:v>1245</c:v>
                </c:pt>
                <c:pt idx="2706">
                  <c:v>1246</c:v>
                </c:pt>
                <c:pt idx="2707">
                  <c:v>1247</c:v>
                </c:pt>
                <c:pt idx="2708">
                  <c:v>1248</c:v>
                </c:pt>
                <c:pt idx="2709">
                  <c:v>1249</c:v>
                </c:pt>
                <c:pt idx="2710">
                  <c:v>1250</c:v>
                </c:pt>
                <c:pt idx="2711">
                  <c:v>1251</c:v>
                </c:pt>
                <c:pt idx="2712">
                  <c:v>1252</c:v>
                </c:pt>
                <c:pt idx="2713">
                  <c:v>1253</c:v>
                </c:pt>
                <c:pt idx="2714">
                  <c:v>1254</c:v>
                </c:pt>
                <c:pt idx="2715">
                  <c:v>1255</c:v>
                </c:pt>
                <c:pt idx="2716">
                  <c:v>1256</c:v>
                </c:pt>
                <c:pt idx="2717">
                  <c:v>1257</c:v>
                </c:pt>
                <c:pt idx="2718">
                  <c:v>1258</c:v>
                </c:pt>
                <c:pt idx="2719">
                  <c:v>1259</c:v>
                </c:pt>
                <c:pt idx="2720">
                  <c:v>1260</c:v>
                </c:pt>
                <c:pt idx="2721">
                  <c:v>1261</c:v>
                </c:pt>
                <c:pt idx="2722">
                  <c:v>1262</c:v>
                </c:pt>
                <c:pt idx="2723">
                  <c:v>1263</c:v>
                </c:pt>
                <c:pt idx="2724">
                  <c:v>1264</c:v>
                </c:pt>
                <c:pt idx="2725">
                  <c:v>1265</c:v>
                </c:pt>
                <c:pt idx="2726">
                  <c:v>1266</c:v>
                </c:pt>
                <c:pt idx="2727">
                  <c:v>1267</c:v>
                </c:pt>
                <c:pt idx="2728">
                  <c:v>1269</c:v>
                </c:pt>
                <c:pt idx="2729">
                  <c:v>1270</c:v>
                </c:pt>
                <c:pt idx="2730">
                  <c:v>1271</c:v>
                </c:pt>
                <c:pt idx="2731">
                  <c:v>1272</c:v>
                </c:pt>
                <c:pt idx="2732">
                  <c:v>1273</c:v>
                </c:pt>
                <c:pt idx="2733">
                  <c:v>1274</c:v>
                </c:pt>
                <c:pt idx="2734">
                  <c:v>1275</c:v>
                </c:pt>
                <c:pt idx="2735">
                  <c:v>1276</c:v>
                </c:pt>
                <c:pt idx="2736">
                  <c:v>1278</c:v>
                </c:pt>
                <c:pt idx="2737">
                  <c:v>1279</c:v>
                </c:pt>
                <c:pt idx="2738">
                  <c:v>1280</c:v>
                </c:pt>
                <c:pt idx="2739">
                  <c:v>1282</c:v>
                </c:pt>
                <c:pt idx="2740">
                  <c:v>1283</c:v>
                </c:pt>
                <c:pt idx="2741">
                  <c:v>1284</c:v>
                </c:pt>
                <c:pt idx="2742">
                  <c:v>1285</c:v>
                </c:pt>
                <c:pt idx="2743">
                  <c:v>1286</c:v>
                </c:pt>
                <c:pt idx="2744">
                  <c:v>1287</c:v>
                </c:pt>
                <c:pt idx="2745">
                  <c:v>1289</c:v>
                </c:pt>
                <c:pt idx="2746">
                  <c:v>1290</c:v>
                </c:pt>
                <c:pt idx="2747">
                  <c:v>1291</c:v>
                </c:pt>
                <c:pt idx="2748">
                  <c:v>1293</c:v>
                </c:pt>
                <c:pt idx="2749">
                  <c:v>1294</c:v>
                </c:pt>
                <c:pt idx="2750">
                  <c:v>1295</c:v>
                </c:pt>
                <c:pt idx="2751">
                  <c:v>1296</c:v>
                </c:pt>
                <c:pt idx="2752">
                  <c:v>1297</c:v>
                </c:pt>
                <c:pt idx="2753">
                  <c:v>1299</c:v>
                </c:pt>
                <c:pt idx="2754">
                  <c:v>1300</c:v>
                </c:pt>
                <c:pt idx="2755">
                  <c:v>1301</c:v>
                </c:pt>
                <c:pt idx="2756">
                  <c:v>1302</c:v>
                </c:pt>
                <c:pt idx="2757">
                  <c:v>1304</c:v>
                </c:pt>
                <c:pt idx="2758">
                  <c:v>1305</c:v>
                </c:pt>
                <c:pt idx="2759">
                  <c:v>1307</c:v>
                </c:pt>
                <c:pt idx="2760">
                  <c:v>1308</c:v>
                </c:pt>
                <c:pt idx="2761">
                  <c:v>1309</c:v>
                </c:pt>
                <c:pt idx="2762">
                  <c:v>1310</c:v>
                </c:pt>
                <c:pt idx="2763">
                  <c:v>1311</c:v>
                </c:pt>
                <c:pt idx="2764">
                  <c:v>1312</c:v>
                </c:pt>
                <c:pt idx="2765">
                  <c:v>1313</c:v>
                </c:pt>
                <c:pt idx="2766">
                  <c:v>1314</c:v>
                </c:pt>
                <c:pt idx="2767">
                  <c:v>1315</c:v>
                </c:pt>
                <c:pt idx="2768">
                  <c:v>1317</c:v>
                </c:pt>
                <c:pt idx="2769">
                  <c:v>1318</c:v>
                </c:pt>
                <c:pt idx="2770">
                  <c:v>1319</c:v>
                </c:pt>
                <c:pt idx="2771">
                  <c:v>1320</c:v>
                </c:pt>
                <c:pt idx="2772">
                  <c:v>1321</c:v>
                </c:pt>
                <c:pt idx="2773">
                  <c:v>1322</c:v>
                </c:pt>
                <c:pt idx="2774">
                  <c:v>1323</c:v>
                </c:pt>
                <c:pt idx="2775">
                  <c:v>1324</c:v>
                </c:pt>
                <c:pt idx="2776">
                  <c:v>1327</c:v>
                </c:pt>
                <c:pt idx="2777">
                  <c:v>1328</c:v>
                </c:pt>
                <c:pt idx="2778">
                  <c:v>1330</c:v>
                </c:pt>
                <c:pt idx="2779">
                  <c:v>1331</c:v>
                </c:pt>
                <c:pt idx="2780">
                  <c:v>1332</c:v>
                </c:pt>
                <c:pt idx="2781">
                  <c:v>1333</c:v>
                </c:pt>
                <c:pt idx="2782">
                  <c:v>1334</c:v>
                </c:pt>
                <c:pt idx="2783">
                  <c:v>1335</c:v>
                </c:pt>
                <c:pt idx="2784">
                  <c:v>1337</c:v>
                </c:pt>
                <c:pt idx="2785">
                  <c:v>1338</c:v>
                </c:pt>
                <c:pt idx="2786">
                  <c:v>1339</c:v>
                </c:pt>
                <c:pt idx="2787">
                  <c:v>1340</c:v>
                </c:pt>
                <c:pt idx="2788">
                  <c:v>1341</c:v>
                </c:pt>
                <c:pt idx="2789">
                  <c:v>1343</c:v>
                </c:pt>
                <c:pt idx="2790">
                  <c:v>1344</c:v>
                </c:pt>
                <c:pt idx="2791">
                  <c:v>1345</c:v>
                </c:pt>
                <c:pt idx="2792">
                  <c:v>1346</c:v>
                </c:pt>
                <c:pt idx="2793">
                  <c:v>1347</c:v>
                </c:pt>
                <c:pt idx="2794">
                  <c:v>1348</c:v>
                </c:pt>
                <c:pt idx="2795">
                  <c:v>1349</c:v>
                </c:pt>
                <c:pt idx="2796">
                  <c:v>1350</c:v>
                </c:pt>
                <c:pt idx="2797">
                  <c:v>1351</c:v>
                </c:pt>
                <c:pt idx="2798">
                  <c:v>1353</c:v>
                </c:pt>
                <c:pt idx="2799">
                  <c:v>1354</c:v>
                </c:pt>
                <c:pt idx="2800">
                  <c:v>1355</c:v>
                </c:pt>
                <c:pt idx="2801">
                  <c:v>1356</c:v>
                </c:pt>
                <c:pt idx="2802">
                  <c:v>1358</c:v>
                </c:pt>
                <c:pt idx="2803">
                  <c:v>1359</c:v>
                </c:pt>
                <c:pt idx="2804">
                  <c:v>1360</c:v>
                </c:pt>
                <c:pt idx="2805">
                  <c:v>1362</c:v>
                </c:pt>
                <c:pt idx="2806">
                  <c:v>1363</c:v>
                </c:pt>
                <c:pt idx="2807">
                  <c:v>1364</c:v>
                </c:pt>
                <c:pt idx="2808">
                  <c:v>1365</c:v>
                </c:pt>
                <c:pt idx="2809">
                  <c:v>1366</c:v>
                </c:pt>
                <c:pt idx="2810">
                  <c:v>1368</c:v>
                </c:pt>
                <c:pt idx="2811">
                  <c:v>1371</c:v>
                </c:pt>
                <c:pt idx="2812">
                  <c:v>1372</c:v>
                </c:pt>
                <c:pt idx="2813">
                  <c:v>1373</c:v>
                </c:pt>
                <c:pt idx="2814">
                  <c:v>1375</c:v>
                </c:pt>
                <c:pt idx="2815">
                  <c:v>1376</c:v>
                </c:pt>
                <c:pt idx="2816">
                  <c:v>1379</c:v>
                </c:pt>
                <c:pt idx="2817">
                  <c:v>1380</c:v>
                </c:pt>
                <c:pt idx="2818">
                  <c:v>1382</c:v>
                </c:pt>
                <c:pt idx="2819">
                  <c:v>1383</c:v>
                </c:pt>
                <c:pt idx="2820">
                  <c:v>1384</c:v>
                </c:pt>
                <c:pt idx="2821">
                  <c:v>1388</c:v>
                </c:pt>
                <c:pt idx="2822">
                  <c:v>1389</c:v>
                </c:pt>
                <c:pt idx="2823">
                  <c:v>1390</c:v>
                </c:pt>
                <c:pt idx="2824">
                  <c:v>1394</c:v>
                </c:pt>
                <c:pt idx="2825">
                  <c:v>1397</c:v>
                </c:pt>
                <c:pt idx="2826">
                  <c:v>1399</c:v>
                </c:pt>
                <c:pt idx="2827">
                  <c:v>1401</c:v>
                </c:pt>
                <c:pt idx="2828">
                  <c:v>1402</c:v>
                </c:pt>
                <c:pt idx="2829">
                  <c:v>1403</c:v>
                </c:pt>
                <c:pt idx="2830">
                  <c:v>1404</c:v>
                </c:pt>
                <c:pt idx="2831">
                  <c:v>1406</c:v>
                </c:pt>
                <c:pt idx="2832">
                  <c:v>1409</c:v>
                </c:pt>
                <c:pt idx="2833">
                  <c:v>1410</c:v>
                </c:pt>
                <c:pt idx="2834">
                  <c:v>1413</c:v>
                </c:pt>
                <c:pt idx="2835">
                  <c:v>1416</c:v>
                </c:pt>
                <c:pt idx="2836">
                  <c:v>1417</c:v>
                </c:pt>
                <c:pt idx="2837">
                  <c:v>1418</c:v>
                </c:pt>
                <c:pt idx="2838">
                  <c:v>1420</c:v>
                </c:pt>
                <c:pt idx="2839">
                  <c:v>1421</c:v>
                </c:pt>
                <c:pt idx="2840">
                  <c:v>1422</c:v>
                </c:pt>
                <c:pt idx="2841">
                  <c:v>1423</c:v>
                </c:pt>
                <c:pt idx="2842">
                  <c:v>1424</c:v>
                </c:pt>
                <c:pt idx="2843">
                  <c:v>1425</c:v>
                </c:pt>
                <c:pt idx="2844">
                  <c:v>1426</c:v>
                </c:pt>
                <c:pt idx="2845">
                  <c:v>1427</c:v>
                </c:pt>
                <c:pt idx="2846">
                  <c:v>1430</c:v>
                </c:pt>
                <c:pt idx="2847">
                  <c:v>1434</c:v>
                </c:pt>
                <c:pt idx="2848">
                  <c:v>1435</c:v>
                </c:pt>
                <c:pt idx="2849">
                  <c:v>1436</c:v>
                </c:pt>
                <c:pt idx="2850">
                  <c:v>1437</c:v>
                </c:pt>
                <c:pt idx="2851">
                  <c:v>1441</c:v>
                </c:pt>
                <c:pt idx="2852">
                  <c:v>1442</c:v>
                </c:pt>
                <c:pt idx="2853">
                  <c:v>1444</c:v>
                </c:pt>
                <c:pt idx="2854">
                  <c:v>1446</c:v>
                </c:pt>
                <c:pt idx="2855">
                  <c:v>1449</c:v>
                </c:pt>
                <c:pt idx="2856">
                  <c:v>1450</c:v>
                </c:pt>
                <c:pt idx="2857">
                  <c:v>1455</c:v>
                </c:pt>
                <c:pt idx="2858">
                  <c:v>1463</c:v>
                </c:pt>
                <c:pt idx="2859">
                  <c:v>1464</c:v>
                </c:pt>
                <c:pt idx="2860">
                  <c:v>1465</c:v>
                </c:pt>
                <c:pt idx="2861">
                  <c:v>1467</c:v>
                </c:pt>
                <c:pt idx="2862">
                  <c:v>1468</c:v>
                </c:pt>
                <c:pt idx="2863">
                  <c:v>1471</c:v>
                </c:pt>
                <c:pt idx="2864">
                  <c:v>1472</c:v>
                </c:pt>
                <c:pt idx="2865">
                  <c:v>1473</c:v>
                </c:pt>
                <c:pt idx="2866">
                  <c:v>1488</c:v>
                </c:pt>
                <c:pt idx="2867">
                  <c:v>1490</c:v>
                </c:pt>
                <c:pt idx="2868">
                  <c:v>1493</c:v>
                </c:pt>
                <c:pt idx="2869">
                  <c:v>1496</c:v>
                </c:pt>
                <c:pt idx="2870">
                  <c:v>1498</c:v>
                </c:pt>
                <c:pt idx="2871">
                  <c:v>1499</c:v>
                </c:pt>
                <c:pt idx="2872">
                  <c:v>1504</c:v>
                </c:pt>
                <c:pt idx="2873">
                  <c:v>1506</c:v>
                </c:pt>
                <c:pt idx="2874">
                  <c:v>1509</c:v>
                </c:pt>
                <c:pt idx="2875">
                  <c:v>1511</c:v>
                </c:pt>
                <c:pt idx="2876">
                  <c:v>1535</c:v>
                </c:pt>
                <c:pt idx="2877">
                  <c:v>1536</c:v>
                </c:pt>
                <c:pt idx="2878">
                  <c:v>1542</c:v>
                </c:pt>
                <c:pt idx="2879">
                  <c:v>1545</c:v>
                </c:pt>
                <c:pt idx="2880">
                  <c:v>1555</c:v>
                </c:pt>
                <c:pt idx="2881">
                  <c:v>1563</c:v>
                </c:pt>
                <c:pt idx="2882">
                  <c:v>1577</c:v>
                </c:pt>
                <c:pt idx="2883">
                  <c:v>1584</c:v>
                </c:pt>
                <c:pt idx="2884">
                  <c:v>1596</c:v>
                </c:pt>
                <c:pt idx="2885">
                  <c:v>1600</c:v>
                </c:pt>
                <c:pt idx="2886">
                  <c:v>1601</c:v>
                </c:pt>
                <c:pt idx="2887">
                  <c:v>1602</c:v>
                </c:pt>
                <c:pt idx="2888">
                  <c:v>1619</c:v>
                </c:pt>
                <c:pt idx="2889">
                  <c:v>1620</c:v>
                </c:pt>
                <c:pt idx="2890">
                  <c:v>1627</c:v>
                </c:pt>
                <c:pt idx="2891">
                  <c:v>1628</c:v>
                </c:pt>
                <c:pt idx="2892">
                  <c:v>1632</c:v>
                </c:pt>
                <c:pt idx="2893">
                  <c:v>1634</c:v>
                </c:pt>
                <c:pt idx="2894">
                  <c:v>1635</c:v>
                </c:pt>
                <c:pt idx="2895">
                  <c:v>1663</c:v>
                </c:pt>
                <c:pt idx="2896">
                  <c:v>1707</c:v>
                </c:pt>
                <c:pt idx="2897">
                  <c:v>1714</c:v>
                </c:pt>
                <c:pt idx="2898">
                  <c:v>1727</c:v>
                </c:pt>
                <c:pt idx="2899">
                  <c:v>1731</c:v>
                </c:pt>
                <c:pt idx="2900">
                  <c:v>1736</c:v>
                </c:pt>
                <c:pt idx="2901">
                  <c:v>1744</c:v>
                </c:pt>
                <c:pt idx="2902">
                  <c:v>1750</c:v>
                </c:pt>
                <c:pt idx="2903">
                  <c:v>1752</c:v>
                </c:pt>
                <c:pt idx="2904">
                  <c:v>1754</c:v>
                </c:pt>
                <c:pt idx="2905">
                  <c:v>1817</c:v>
                </c:pt>
                <c:pt idx="2906">
                  <c:v>1820</c:v>
                </c:pt>
                <c:pt idx="2907">
                  <c:v>1831</c:v>
                </c:pt>
                <c:pt idx="2908">
                  <c:v>1879</c:v>
                </c:pt>
                <c:pt idx="2909">
                  <c:v>2006</c:v>
                </c:pt>
              </c:numCache>
            </c:numRef>
          </c:xVal>
          <c:yVal>
            <c:numRef>
              <c:f>Sheet1!$B$2:$B$2914</c:f>
              <c:numCache>
                <c:formatCode>General</c:formatCode>
                <c:ptCount val="291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5</c:v>
                </c:pt>
                <c:pt idx="61">
                  <c:v>0</c:v>
                </c:pt>
                <c:pt idx="62">
                  <c:v>0</c:v>
                </c:pt>
                <c:pt idx="63">
                  <c:v>0</c:v>
                </c:pt>
                <c:pt idx="64">
                  <c:v>0</c:v>
                </c:pt>
                <c:pt idx="65">
                  <c:v>0</c:v>
                </c:pt>
                <c:pt idx="66">
                  <c:v>0</c:v>
                </c:pt>
                <c:pt idx="67">
                  <c:v>0</c:v>
                </c:pt>
                <c:pt idx="68">
                  <c:v>0</c:v>
                </c:pt>
                <c:pt idx="69">
                  <c:v>0</c:v>
                </c:pt>
                <c:pt idx="70">
                  <c:v>0</c:v>
                </c:pt>
                <c:pt idx="71">
                  <c:v>0</c:v>
                </c:pt>
                <c:pt idx="72">
                  <c:v>0.66666999999999998</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2</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5</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33333000000000002</c:v>
                </c:pt>
                <c:pt idx="177">
                  <c:v>8.3330000000000001E-2</c:v>
                </c:pt>
                <c:pt idx="178">
                  <c:v>0</c:v>
                </c:pt>
                <c:pt idx="179">
                  <c:v>0</c:v>
                </c:pt>
                <c:pt idx="180">
                  <c:v>0</c:v>
                </c:pt>
                <c:pt idx="181">
                  <c:v>0</c:v>
                </c:pt>
                <c:pt idx="182">
                  <c:v>0</c:v>
                </c:pt>
                <c:pt idx="183">
                  <c:v>0</c:v>
                </c:pt>
                <c:pt idx="184">
                  <c:v>1</c:v>
                </c:pt>
                <c:pt idx="185">
                  <c:v>0</c:v>
                </c:pt>
                <c:pt idx="186">
                  <c:v>0</c:v>
                </c:pt>
                <c:pt idx="187">
                  <c:v>0.11111</c:v>
                </c:pt>
                <c:pt idx="188">
                  <c:v>0</c:v>
                </c:pt>
                <c:pt idx="189">
                  <c:v>0</c:v>
                </c:pt>
                <c:pt idx="190">
                  <c:v>0</c:v>
                </c:pt>
                <c:pt idx="191">
                  <c:v>0</c:v>
                </c:pt>
                <c:pt idx="192">
                  <c:v>0</c:v>
                </c:pt>
                <c:pt idx="193">
                  <c:v>0</c:v>
                </c:pt>
                <c:pt idx="194">
                  <c:v>0</c:v>
                </c:pt>
                <c:pt idx="195">
                  <c:v>0.16667000000000001</c:v>
                </c:pt>
                <c:pt idx="196">
                  <c:v>0</c:v>
                </c:pt>
                <c:pt idx="197">
                  <c:v>0</c:v>
                </c:pt>
                <c:pt idx="198">
                  <c:v>0</c:v>
                </c:pt>
                <c:pt idx="199">
                  <c:v>0</c:v>
                </c:pt>
                <c:pt idx="200">
                  <c:v>0</c:v>
                </c:pt>
                <c:pt idx="201">
                  <c:v>0</c:v>
                </c:pt>
                <c:pt idx="202">
                  <c:v>0</c:v>
                </c:pt>
                <c:pt idx="203">
                  <c:v>0.16667000000000001</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25</c:v>
                </c:pt>
                <c:pt idx="221">
                  <c:v>0</c:v>
                </c:pt>
                <c:pt idx="222">
                  <c:v>0</c:v>
                </c:pt>
                <c:pt idx="223">
                  <c:v>0</c:v>
                </c:pt>
                <c:pt idx="224">
                  <c:v>0</c:v>
                </c:pt>
                <c:pt idx="225">
                  <c:v>0</c:v>
                </c:pt>
                <c:pt idx="226">
                  <c:v>0</c:v>
                </c:pt>
                <c:pt idx="227">
                  <c:v>0</c:v>
                </c:pt>
                <c:pt idx="228">
                  <c:v>0</c:v>
                </c:pt>
                <c:pt idx="229">
                  <c:v>0</c:v>
                </c:pt>
                <c:pt idx="230">
                  <c:v>0</c:v>
                </c:pt>
                <c:pt idx="231">
                  <c:v>0</c:v>
                </c:pt>
                <c:pt idx="232">
                  <c:v>0.25</c:v>
                </c:pt>
                <c:pt idx="233">
                  <c:v>0</c:v>
                </c:pt>
                <c:pt idx="234">
                  <c:v>0</c:v>
                </c:pt>
                <c:pt idx="235">
                  <c:v>0</c:v>
                </c:pt>
                <c:pt idx="236">
                  <c:v>0</c:v>
                </c:pt>
                <c:pt idx="237">
                  <c:v>0.2</c:v>
                </c:pt>
                <c:pt idx="238">
                  <c:v>0</c:v>
                </c:pt>
                <c:pt idx="239">
                  <c:v>0</c:v>
                </c:pt>
                <c:pt idx="240">
                  <c:v>0</c:v>
                </c:pt>
                <c:pt idx="241">
                  <c:v>0</c:v>
                </c:pt>
                <c:pt idx="242">
                  <c:v>0</c:v>
                </c:pt>
                <c:pt idx="243">
                  <c:v>0</c:v>
                </c:pt>
                <c:pt idx="244">
                  <c:v>0</c:v>
                </c:pt>
                <c:pt idx="245">
                  <c:v>0</c:v>
                </c:pt>
                <c:pt idx="246">
                  <c:v>0.2</c:v>
                </c:pt>
                <c:pt idx="247">
                  <c:v>0</c:v>
                </c:pt>
                <c:pt idx="248">
                  <c:v>0.16667000000000001</c:v>
                </c:pt>
                <c:pt idx="249">
                  <c:v>0</c:v>
                </c:pt>
                <c:pt idx="250">
                  <c:v>0.2</c:v>
                </c:pt>
                <c:pt idx="251">
                  <c:v>0.16667000000000001</c:v>
                </c:pt>
                <c:pt idx="252">
                  <c:v>0</c:v>
                </c:pt>
                <c:pt idx="253">
                  <c:v>0</c:v>
                </c:pt>
                <c:pt idx="254">
                  <c:v>0</c:v>
                </c:pt>
                <c:pt idx="255">
                  <c:v>0</c:v>
                </c:pt>
                <c:pt idx="256">
                  <c:v>0</c:v>
                </c:pt>
                <c:pt idx="257">
                  <c:v>0</c:v>
                </c:pt>
                <c:pt idx="258">
                  <c:v>0</c:v>
                </c:pt>
                <c:pt idx="259">
                  <c:v>0</c:v>
                </c:pt>
                <c:pt idx="260">
                  <c:v>0.33333000000000002</c:v>
                </c:pt>
                <c:pt idx="261">
                  <c:v>0</c:v>
                </c:pt>
                <c:pt idx="262">
                  <c:v>0</c:v>
                </c:pt>
                <c:pt idx="263">
                  <c:v>0</c:v>
                </c:pt>
                <c:pt idx="264">
                  <c:v>0</c:v>
                </c:pt>
                <c:pt idx="265">
                  <c:v>0</c:v>
                </c:pt>
                <c:pt idx="266">
                  <c:v>0</c:v>
                </c:pt>
                <c:pt idx="267">
                  <c:v>0</c:v>
                </c:pt>
                <c:pt idx="268">
                  <c:v>0</c:v>
                </c:pt>
                <c:pt idx="269">
                  <c:v>0</c:v>
                </c:pt>
                <c:pt idx="270">
                  <c:v>0</c:v>
                </c:pt>
                <c:pt idx="271">
                  <c:v>0</c:v>
                </c:pt>
                <c:pt idx="272">
                  <c:v>0.16667000000000001</c:v>
                </c:pt>
                <c:pt idx="273">
                  <c:v>0</c:v>
                </c:pt>
                <c:pt idx="274">
                  <c:v>0</c:v>
                </c:pt>
                <c:pt idx="275">
                  <c:v>0</c:v>
                </c:pt>
                <c:pt idx="276">
                  <c:v>0</c:v>
                </c:pt>
                <c:pt idx="277">
                  <c:v>0</c:v>
                </c:pt>
                <c:pt idx="278">
                  <c:v>0</c:v>
                </c:pt>
                <c:pt idx="279">
                  <c:v>0</c:v>
                </c:pt>
                <c:pt idx="280">
                  <c:v>0</c:v>
                </c:pt>
                <c:pt idx="281">
                  <c:v>0</c:v>
                </c:pt>
                <c:pt idx="282">
                  <c:v>0</c:v>
                </c:pt>
                <c:pt idx="283">
                  <c:v>0</c:v>
                </c:pt>
                <c:pt idx="284">
                  <c:v>0.25</c:v>
                </c:pt>
                <c:pt idx="285">
                  <c:v>0</c:v>
                </c:pt>
                <c:pt idx="286">
                  <c:v>0.21429000000000001</c:v>
                </c:pt>
                <c:pt idx="287">
                  <c:v>0.22727</c:v>
                </c:pt>
                <c:pt idx="288">
                  <c:v>0</c:v>
                </c:pt>
                <c:pt idx="289">
                  <c:v>0</c:v>
                </c:pt>
                <c:pt idx="290">
                  <c:v>0</c:v>
                </c:pt>
                <c:pt idx="291">
                  <c:v>0</c:v>
                </c:pt>
                <c:pt idx="292">
                  <c:v>0</c:v>
                </c:pt>
                <c:pt idx="293">
                  <c:v>5.5559999999999998E-2</c:v>
                </c:pt>
                <c:pt idx="294">
                  <c:v>0</c:v>
                </c:pt>
                <c:pt idx="295">
                  <c:v>0</c:v>
                </c:pt>
                <c:pt idx="296">
                  <c:v>0</c:v>
                </c:pt>
                <c:pt idx="297">
                  <c:v>0</c:v>
                </c:pt>
                <c:pt idx="298">
                  <c:v>0</c:v>
                </c:pt>
                <c:pt idx="299">
                  <c:v>0.125</c:v>
                </c:pt>
                <c:pt idx="300">
                  <c:v>0</c:v>
                </c:pt>
                <c:pt idx="301">
                  <c:v>0</c:v>
                </c:pt>
                <c:pt idx="302">
                  <c:v>0</c:v>
                </c:pt>
                <c:pt idx="303">
                  <c:v>0</c:v>
                </c:pt>
                <c:pt idx="304">
                  <c:v>0</c:v>
                </c:pt>
                <c:pt idx="305">
                  <c:v>0</c:v>
                </c:pt>
                <c:pt idx="306">
                  <c:v>0</c:v>
                </c:pt>
                <c:pt idx="307">
                  <c:v>0</c:v>
                </c:pt>
                <c:pt idx="308">
                  <c:v>0</c:v>
                </c:pt>
                <c:pt idx="309">
                  <c:v>0.125</c:v>
                </c:pt>
                <c:pt idx="310">
                  <c:v>0</c:v>
                </c:pt>
                <c:pt idx="311">
                  <c:v>0.16667000000000001</c:v>
                </c:pt>
                <c:pt idx="312">
                  <c:v>0</c:v>
                </c:pt>
                <c:pt idx="313">
                  <c:v>0.14285999999999999</c:v>
                </c:pt>
                <c:pt idx="314">
                  <c:v>0.14285999999999999</c:v>
                </c:pt>
                <c:pt idx="315">
                  <c:v>0</c:v>
                </c:pt>
                <c:pt idx="316">
                  <c:v>0</c:v>
                </c:pt>
                <c:pt idx="317">
                  <c:v>0</c:v>
                </c:pt>
                <c:pt idx="318">
                  <c:v>0.05</c:v>
                </c:pt>
                <c:pt idx="319">
                  <c:v>0</c:v>
                </c:pt>
                <c:pt idx="320">
                  <c:v>0</c:v>
                </c:pt>
                <c:pt idx="321">
                  <c:v>0</c:v>
                </c:pt>
                <c:pt idx="322">
                  <c:v>5.8819999999999997E-2</c:v>
                </c:pt>
                <c:pt idx="323">
                  <c:v>0</c:v>
                </c:pt>
                <c:pt idx="324">
                  <c:v>0</c:v>
                </c:pt>
                <c:pt idx="325">
                  <c:v>0</c:v>
                </c:pt>
                <c:pt idx="326">
                  <c:v>0</c:v>
                </c:pt>
                <c:pt idx="327">
                  <c:v>0</c:v>
                </c:pt>
                <c:pt idx="328">
                  <c:v>0</c:v>
                </c:pt>
                <c:pt idx="329">
                  <c:v>9.0910000000000005E-2</c:v>
                </c:pt>
                <c:pt idx="330">
                  <c:v>7.1429999999999993E-2</c:v>
                </c:pt>
                <c:pt idx="331">
                  <c:v>0.11111</c:v>
                </c:pt>
                <c:pt idx="332">
                  <c:v>0</c:v>
                </c:pt>
                <c:pt idx="333">
                  <c:v>5.8819999999999997E-2</c:v>
                </c:pt>
                <c:pt idx="334">
                  <c:v>0.18182000000000001</c:v>
                </c:pt>
                <c:pt idx="335">
                  <c:v>0</c:v>
                </c:pt>
                <c:pt idx="336">
                  <c:v>0</c:v>
                </c:pt>
                <c:pt idx="337">
                  <c:v>0</c:v>
                </c:pt>
                <c:pt idx="338">
                  <c:v>7.6920000000000002E-2</c:v>
                </c:pt>
                <c:pt idx="339">
                  <c:v>7.1429999999999993E-2</c:v>
                </c:pt>
                <c:pt idx="340">
                  <c:v>0</c:v>
                </c:pt>
                <c:pt idx="341">
                  <c:v>0</c:v>
                </c:pt>
                <c:pt idx="342">
                  <c:v>0</c:v>
                </c:pt>
                <c:pt idx="343">
                  <c:v>0</c:v>
                </c:pt>
                <c:pt idx="344">
                  <c:v>0</c:v>
                </c:pt>
                <c:pt idx="345">
                  <c:v>0</c:v>
                </c:pt>
                <c:pt idx="346">
                  <c:v>0.18182000000000001</c:v>
                </c:pt>
                <c:pt idx="347">
                  <c:v>0</c:v>
                </c:pt>
                <c:pt idx="348">
                  <c:v>0</c:v>
                </c:pt>
                <c:pt idx="349">
                  <c:v>6.6669999999999993E-2</c:v>
                </c:pt>
                <c:pt idx="350">
                  <c:v>0</c:v>
                </c:pt>
                <c:pt idx="351">
                  <c:v>5.5559999999999998E-2</c:v>
                </c:pt>
                <c:pt idx="352">
                  <c:v>0</c:v>
                </c:pt>
                <c:pt idx="353">
                  <c:v>8.3330000000000001E-2</c:v>
                </c:pt>
                <c:pt idx="354">
                  <c:v>0</c:v>
                </c:pt>
                <c:pt idx="355">
                  <c:v>0</c:v>
                </c:pt>
                <c:pt idx="356">
                  <c:v>0</c:v>
                </c:pt>
                <c:pt idx="357">
                  <c:v>0.21429000000000001</c:v>
                </c:pt>
                <c:pt idx="358">
                  <c:v>0</c:v>
                </c:pt>
                <c:pt idx="359">
                  <c:v>0.15384999999999999</c:v>
                </c:pt>
                <c:pt idx="360">
                  <c:v>0.13333</c:v>
                </c:pt>
                <c:pt idx="361">
                  <c:v>0</c:v>
                </c:pt>
                <c:pt idx="362">
                  <c:v>0.13333</c:v>
                </c:pt>
                <c:pt idx="363">
                  <c:v>0.10526000000000001</c:v>
                </c:pt>
                <c:pt idx="364">
                  <c:v>0</c:v>
                </c:pt>
                <c:pt idx="365">
                  <c:v>2.632E-2</c:v>
                </c:pt>
                <c:pt idx="366">
                  <c:v>0</c:v>
                </c:pt>
                <c:pt idx="367">
                  <c:v>7.6920000000000002E-2</c:v>
                </c:pt>
                <c:pt idx="368">
                  <c:v>8.3330000000000001E-2</c:v>
                </c:pt>
                <c:pt idx="369">
                  <c:v>6.25E-2</c:v>
                </c:pt>
                <c:pt idx="370">
                  <c:v>7.1429999999999993E-2</c:v>
                </c:pt>
                <c:pt idx="371">
                  <c:v>0.14285999999999999</c:v>
                </c:pt>
                <c:pt idx="372">
                  <c:v>8.3330000000000001E-2</c:v>
                </c:pt>
                <c:pt idx="373">
                  <c:v>0.05</c:v>
                </c:pt>
                <c:pt idx="374">
                  <c:v>6.25E-2</c:v>
                </c:pt>
                <c:pt idx="375">
                  <c:v>0</c:v>
                </c:pt>
                <c:pt idx="376">
                  <c:v>0</c:v>
                </c:pt>
                <c:pt idx="377">
                  <c:v>0</c:v>
                </c:pt>
                <c:pt idx="378">
                  <c:v>4.3479999999999998E-2</c:v>
                </c:pt>
                <c:pt idx="379">
                  <c:v>0.05</c:v>
                </c:pt>
                <c:pt idx="380">
                  <c:v>6.25E-2</c:v>
                </c:pt>
                <c:pt idx="381">
                  <c:v>0</c:v>
                </c:pt>
                <c:pt idx="382">
                  <c:v>4.1669999999999999E-2</c:v>
                </c:pt>
                <c:pt idx="383">
                  <c:v>0.05</c:v>
                </c:pt>
                <c:pt idx="384">
                  <c:v>0.15</c:v>
                </c:pt>
                <c:pt idx="385">
                  <c:v>9.0910000000000005E-2</c:v>
                </c:pt>
                <c:pt idx="386">
                  <c:v>7.1429999999999993E-2</c:v>
                </c:pt>
                <c:pt idx="387">
                  <c:v>5.2630000000000003E-2</c:v>
                </c:pt>
                <c:pt idx="388">
                  <c:v>4.5449999999999997E-2</c:v>
                </c:pt>
                <c:pt idx="389">
                  <c:v>0</c:v>
                </c:pt>
                <c:pt idx="390">
                  <c:v>0</c:v>
                </c:pt>
                <c:pt idx="391">
                  <c:v>0</c:v>
                </c:pt>
                <c:pt idx="392">
                  <c:v>0.1</c:v>
                </c:pt>
                <c:pt idx="393">
                  <c:v>0</c:v>
                </c:pt>
                <c:pt idx="394">
                  <c:v>0</c:v>
                </c:pt>
                <c:pt idx="395">
                  <c:v>0.05</c:v>
                </c:pt>
                <c:pt idx="396">
                  <c:v>4.5449999999999997E-2</c:v>
                </c:pt>
                <c:pt idx="397">
                  <c:v>0</c:v>
                </c:pt>
                <c:pt idx="398">
                  <c:v>0</c:v>
                </c:pt>
                <c:pt idx="399">
                  <c:v>0</c:v>
                </c:pt>
                <c:pt idx="400">
                  <c:v>5.2630000000000003E-2</c:v>
                </c:pt>
                <c:pt idx="401">
                  <c:v>0</c:v>
                </c:pt>
                <c:pt idx="402">
                  <c:v>0</c:v>
                </c:pt>
                <c:pt idx="403">
                  <c:v>0.11111</c:v>
                </c:pt>
                <c:pt idx="404">
                  <c:v>7.4999999999999997E-2</c:v>
                </c:pt>
                <c:pt idx="405">
                  <c:v>0</c:v>
                </c:pt>
                <c:pt idx="406">
                  <c:v>0.10526000000000001</c:v>
                </c:pt>
                <c:pt idx="407">
                  <c:v>3.5709999999999999E-2</c:v>
                </c:pt>
                <c:pt idx="408">
                  <c:v>0</c:v>
                </c:pt>
                <c:pt idx="409">
                  <c:v>0.05</c:v>
                </c:pt>
                <c:pt idx="410">
                  <c:v>2.3810000000000001E-2</c:v>
                </c:pt>
                <c:pt idx="411">
                  <c:v>9.375E-2</c:v>
                </c:pt>
                <c:pt idx="412">
                  <c:v>1.5630000000000002E-2</c:v>
                </c:pt>
                <c:pt idx="413">
                  <c:v>0.08</c:v>
                </c:pt>
                <c:pt idx="414">
                  <c:v>3.8460000000000001E-2</c:v>
                </c:pt>
                <c:pt idx="415">
                  <c:v>4.1669999999999999E-2</c:v>
                </c:pt>
                <c:pt idx="416">
                  <c:v>0</c:v>
                </c:pt>
                <c:pt idx="417">
                  <c:v>0</c:v>
                </c:pt>
                <c:pt idx="418">
                  <c:v>0</c:v>
                </c:pt>
                <c:pt idx="419">
                  <c:v>3.8460000000000001E-2</c:v>
                </c:pt>
                <c:pt idx="420">
                  <c:v>0</c:v>
                </c:pt>
                <c:pt idx="421">
                  <c:v>0</c:v>
                </c:pt>
                <c:pt idx="422">
                  <c:v>3.3329999999999999E-2</c:v>
                </c:pt>
                <c:pt idx="423">
                  <c:v>0</c:v>
                </c:pt>
                <c:pt idx="424">
                  <c:v>0</c:v>
                </c:pt>
                <c:pt idx="425">
                  <c:v>0.04</c:v>
                </c:pt>
                <c:pt idx="426">
                  <c:v>5.2630000000000003E-2</c:v>
                </c:pt>
                <c:pt idx="427">
                  <c:v>7.1429999999999993E-2</c:v>
                </c:pt>
                <c:pt idx="428">
                  <c:v>2.7779999999999999E-2</c:v>
                </c:pt>
                <c:pt idx="429">
                  <c:v>6.25E-2</c:v>
                </c:pt>
                <c:pt idx="430">
                  <c:v>0</c:v>
                </c:pt>
                <c:pt idx="431">
                  <c:v>0</c:v>
                </c:pt>
                <c:pt idx="432">
                  <c:v>0</c:v>
                </c:pt>
                <c:pt idx="433">
                  <c:v>9.6769999999999995E-2</c:v>
                </c:pt>
                <c:pt idx="434">
                  <c:v>4.5449999999999997E-2</c:v>
                </c:pt>
                <c:pt idx="435">
                  <c:v>9.375E-2</c:v>
                </c:pt>
                <c:pt idx="436">
                  <c:v>4.1669999999999999E-2</c:v>
                </c:pt>
                <c:pt idx="437">
                  <c:v>0</c:v>
                </c:pt>
                <c:pt idx="438">
                  <c:v>4.5449999999999997E-2</c:v>
                </c:pt>
                <c:pt idx="439">
                  <c:v>5.2630000000000003E-2</c:v>
                </c:pt>
                <c:pt idx="440">
                  <c:v>4.3479999999999998E-2</c:v>
                </c:pt>
                <c:pt idx="441">
                  <c:v>8.8239999999999999E-2</c:v>
                </c:pt>
                <c:pt idx="442">
                  <c:v>0.1</c:v>
                </c:pt>
                <c:pt idx="443">
                  <c:v>0.05</c:v>
                </c:pt>
                <c:pt idx="444">
                  <c:v>4.7620000000000003E-2</c:v>
                </c:pt>
                <c:pt idx="445">
                  <c:v>2.8570000000000002E-2</c:v>
                </c:pt>
                <c:pt idx="446">
                  <c:v>0.04</c:v>
                </c:pt>
                <c:pt idx="447">
                  <c:v>0</c:v>
                </c:pt>
                <c:pt idx="448">
                  <c:v>2.9409999999999999E-2</c:v>
                </c:pt>
                <c:pt idx="449">
                  <c:v>3.8460000000000001E-2</c:v>
                </c:pt>
                <c:pt idx="450">
                  <c:v>5.357E-2</c:v>
                </c:pt>
                <c:pt idx="451">
                  <c:v>3.125E-2</c:v>
                </c:pt>
                <c:pt idx="452">
                  <c:v>7.1429999999999993E-2</c:v>
                </c:pt>
                <c:pt idx="453">
                  <c:v>8.3330000000000001E-2</c:v>
                </c:pt>
                <c:pt idx="454">
                  <c:v>0</c:v>
                </c:pt>
                <c:pt idx="455">
                  <c:v>2.222E-2</c:v>
                </c:pt>
                <c:pt idx="456">
                  <c:v>3.5709999999999999E-2</c:v>
                </c:pt>
                <c:pt idx="457">
                  <c:v>5.5559999999999998E-2</c:v>
                </c:pt>
                <c:pt idx="458">
                  <c:v>3.4479999999999997E-2</c:v>
                </c:pt>
                <c:pt idx="459">
                  <c:v>6.0609999999999997E-2</c:v>
                </c:pt>
                <c:pt idx="460">
                  <c:v>0</c:v>
                </c:pt>
                <c:pt idx="461">
                  <c:v>0.10811</c:v>
                </c:pt>
                <c:pt idx="462">
                  <c:v>0</c:v>
                </c:pt>
                <c:pt idx="463">
                  <c:v>7.5759999999999994E-2</c:v>
                </c:pt>
                <c:pt idx="464">
                  <c:v>0.12121</c:v>
                </c:pt>
                <c:pt idx="465">
                  <c:v>2.9409999999999999E-2</c:v>
                </c:pt>
                <c:pt idx="466">
                  <c:v>1.2500000000000001E-2</c:v>
                </c:pt>
                <c:pt idx="467">
                  <c:v>1.8519999999999998E-2</c:v>
                </c:pt>
                <c:pt idx="468">
                  <c:v>0</c:v>
                </c:pt>
                <c:pt idx="469">
                  <c:v>3.5709999999999999E-2</c:v>
                </c:pt>
                <c:pt idx="470">
                  <c:v>0.10976</c:v>
                </c:pt>
                <c:pt idx="471">
                  <c:v>0.02</c:v>
                </c:pt>
                <c:pt idx="472">
                  <c:v>2.7029999999999998E-2</c:v>
                </c:pt>
                <c:pt idx="473">
                  <c:v>2.3810000000000001E-2</c:v>
                </c:pt>
                <c:pt idx="474">
                  <c:v>0.05</c:v>
                </c:pt>
                <c:pt idx="475">
                  <c:v>1.4710000000000001E-2</c:v>
                </c:pt>
                <c:pt idx="476">
                  <c:v>6.6669999999999993E-2</c:v>
                </c:pt>
                <c:pt idx="477">
                  <c:v>2.7779999999999999E-2</c:v>
                </c:pt>
                <c:pt idx="478">
                  <c:v>6.25E-2</c:v>
                </c:pt>
                <c:pt idx="479">
                  <c:v>5.7140000000000003E-2</c:v>
                </c:pt>
                <c:pt idx="480">
                  <c:v>3.125E-2</c:v>
                </c:pt>
                <c:pt idx="481">
                  <c:v>0.05</c:v>
                </c:pt>
                <c:pt idx="482">
                  <c:v>0</c:v>
                </c:pt>
                <c:pt idx="483">
                  <c:v>0</c:v>
                </c:pt>
                <c:pt idx="484">
                  <c:v>5.2630000000000003E-2</c:v>
                </c:pt>
                <c:pt idx="485">
                  <c:v>8.1079999999999999E-2</c:v>
                </c:pt>
                <c:pt idx="486">
                  <c:v>8.8889999999999997E-2</c:v>
                </c:pt>
                <c:pt idx="487">
                  <c:v>2.564E-2</c:v>
                </c:pt>
                <c:pt idx="488">
                  <c:v>2.7779999999999999E-2</c:v>
                </c:pt>
                <c:pt idx="489">
                  <c:v>3.4090000000000002E-2</c:v>
                </c:pt>
                <c:pt idx="490">
                  <c:v>2.7029999999999998E-2</c:v>
                </c:pt>
                <c:pt idx="491">
                  <c:v>5.2080000000000001E-2</c:v>
                </c:pt>
                <c:pt idx="492">
                  <c:v>2.4389999999999998E-2</c:v>
                </c:pt>
                <c:pt idx="493">
                  <c:v>0.11111</c:v>
                </c:pt>
                <c:pt idx="494">
                  <c:v>3.125E-2</c:v>
                </c:pt>
                <c:pt idx="495">
                  <c:v>6.8970000000000004E-2</c:v>
                </c:pt>
                <c:pt idx="496">
                  <c:v>7.3169999999999999E-2</c:v>
                </c:pt>
                <c:pt idx="497">
                  <c:v>0</c:v>
                </c:pt>
                <c:pt idx="498">
                  <c:v>2.4389999999999998E-2</c:v>
                </c:pt>
                <c:pt idx="499">
                  <c:v>3.2259999999999997E-2</c:v>
                </c:pt>
                <c:pt idx="500">
                  <c:v>4.2549999999999998E-2</c:v>
                </c:pt>
                <c:pt idx="501">
                  <c:v>4.9020000000000001E-2</c:v>
                </c:pt>
                <c:pt idx="502">
                  <c:v>2.632E-2</c:v>
                </c:pt>
                <c:pt idx="503">
                  <c:v>4.6510000000000003E-2</c:v>
                </c:pt>
                <c:pt idx="504">
                  <c:v>5.4050000000000001E-2</c:v>
                </c:pt>
                <c:pt idx="505">
                  <c:v>6.522E-2</c:v>
                </c:pt>
                <c:pt idx="506">
                  <c:v>5.9520000000000003E-2</c:v>
                </c:pt>
                <c:pt idx="507">
                  <c:v>2.632E-2</c:v>
                </c:pt>
                <c:pt idx="508">
                  <c:v>0</c:v>
                </c:pt>
                <c:pt idx="509">
                  <c:v>6.5790000000000001E-2</c:v>
                </c:pt>
                <c:pt idx="510">
                  <c:v>3.2259999999999997E-2</c:v>
                </c:pt>
                <c:pt idx="511">
                  <c:v>6.9769999999999999E-2</c:v>
                </c:pt>
                <c:pt idx="512">
                  <c:v>1.754E-2</c:v>
                </c:pt>
                <c:pt idx="513">
                  <c:v>0</c:v>
                </c:pt>
                <c:pt idx="514">
                  <c:v>9.7559999999999994E-2</c:v>
                </c:pt>
                <c:pt idx="515">
                  <c:v>7.3169999999999999E-2</c:v>
                </c:pt>
                <c:pt idx="516">
                  <c:v>2.4389999999999998E-2</c:v>
                </c:pt>
                <c:pt idx="517">
                  <c:v>4.3099999999999999E-2</c:v>
                </c:pt>
                <c:pt idx="518">
                  <c:v>3.39E-2</c:v>
                </c:pt>
                <c:pt idx="519">
                  <c:v>2.222E-2</c:v>
                </c:pt>
                <c:pt idx="520">
                  <c:v>0.06</c:v>
                </c:pt>
                <c:pt idx="521">
                  <c:v>6.9769999999999999E-2</c:v>
                </c:pt>
                <c:pt idx="522">
                  <c:v>5.6599999999999998E-2</c:v>
                </c:pt>
                <c:pt idx="523">
                  <c:v>7.6090000000000005E-2</c:v>
                </c:pt>
                <c:pt idx="524">
                  <c:v>8.5110000000000005E-2</c:v>
                </c:pt>
                <c:pt idx="525">
                  <c:v>7.9710000000000003E-2</c:v>
                </c:pt>
                <c:pt idx="526">
                  <c:v>4.0320000000000002E-2</c:v>
                </c:pt>
                <c:pt idx="527">
                  <c:v>3.3329999999999999E-2</c:v>
                </c:pt>
                <c:pt idx="528">
                  <c:v>0</c:v>
                </c:pt>
                <c:pt idx="529">
                  <c:v>9.6200000000000001E-3</c:v>
                </c:pt>
                <c:pt idx="530">
                  <c:v>7.6920000000000002E-2</c:v>
                </c:pt>
                <c:pt idx="531">
                  <c:v>9.7999999999999997E-3</c:v>
                </c:pt>
                <c:pt idx="532">
                  <c:v>0.11111</c:v>
                </c:pt>
                <c:pt idx="533">
                  <c:v>5.4690000000000003E-2</c:v>
                </c:pt>
                <c:pt idx="534">
                  <c:v>3.175E-2</c:v>
                </c:pt>
                <c:pt idx="535">
                  <c:v>6.7309999999999995E-2</c:v>
                </c:pt>
                <c:pt idx="536">
                  <c:v>1.7239999999999998E-2</c:v>
                </c:pt>
                <c:pt idx="537">
                  <c:v>8.2000000000000007E-3</c:v>
                </c:pt>
                <c:pt idx="538">
                  <c:v>7.3770000000000002E-2</c:v>
                </c:pt>
                <c:pt idx="539">
                  <c:v>6.6669999999999993E-2</c:v>
                </c:pt>
                <c:pt idx="540">
                  <c:v>7.1429999999999993E-2</c:v>
                </c:pt>
                <c:pt idx="541">
                  <c:v>3.7039999999999997E-2</c:v>
                </c:pt>
                <c:pt idx="542">
                  <c:v>0.11111</c:v>
                </c:pt>
                <c:pt idx="543">
                  <c:v>0</c:v>
                </c:pt>
                <c:pt idx="544">
                  <c:v>6.8180000000000004E-2</c:v>
                </c:pt>
                <c:pt idx="545">
                  <c:v>5.1720000000000002E-2</c:v>
                </c:pt>
                <c:pt idx="546">
                  <c:v>3.7039999999999997E-2</c:v>
                </c:pt>
                <c:pt idx="547">
                  <c:v>4.1669999999999999E-2</c:v>
                </c:pt>
                <c:pt idx="548">
                  <c:v>9.8479999999999998E-2</c:v>
                </c:pt>
                <c:pt idx="549">
                  <c:v>4.3860000000000003E-2</c:v>
                </c:pt>
                <c:pt idx="550">
                  <c:v>4.6670000000000003E-2</c:v>
                </c:pt>
                <c:pt idx="551">
                  <c:v>1.7860000000000001E-2</c:v>
                </c:pt>
                <c:pt idx="552">
                  <c:v>0</c:v>
                </c:pt>
                <c:pt idx="553">
                  <c:v>5.0720000000000001E-2</c:v>
                </c:pt>
                <c:pt idx="554">
                  <c:v>6.8489999999999995E-2</c:v>
                </c:pt>
                <c:pt idx="555">
                  <c:v>4.5449999999999997E-2</c:v>
                </c:pt>
                <c:pt idx="556">
                  <c:v>3.0609999999999998E-2</c:v>
                </c:pt>
                <c:pt idx="557">
                  <c:v>4.7620000000000003E-2</c:v>
                </c:pt>
                <c:pt idx="558">
                  <c:v>3.4479999999999997E-2</c:v>
                </c:pt>
                <c:pt idx="559">
                  <c:v>3.4720000000000001E-2</c:v>
                </c:pt>
                <c:pt idx="560">
                  <c:v>5.1720000000000002E-2</c:v>
                </c:pt>
                <c:pt idx="561">
                  <c:v>1.8519999999999998E-2</c:v>
                </c:pt>
                <c:pt idx="562">
                  <c:v>2.5000000000000001E-2</c:v>
                </c:pt>
                <c:pt idx="563">
                  <c:v>8.3330000000000001E-2</c:v>
                </c:pt>
                <c:pt idx="564">
                  <c:v>7.7920000000000003E-2</c:v>
                </c:pt>
                <c:pt idx="565">
                  <c:v>0.04</c:v>
                </c:pt>
                <c:pt idx="566">
                  <c:v>2.3259999999999999E-2</c:v>
                </c:pt>
                <c:pt idx="567">
                  <c:v>3.3329999999999999E-2</c:v>
                </c:pt>
                <c:pt idx="568">
                  <c:v>4.7620000000000003E-2</c:v>
                </c:pt>
                <c:pt idx="569">
                  <c:v>0.10377</c:v>
                </c:pt>
                <c:pt idx="570">
                  <c:v>5.9700000000000003E-2</c:v>
                </c:pt>
                <c:pt idx="571">
                  <c:v>3.5209999999999998E-2</c:v>
                </c:pt>
                <c:pt idx="572">
                  <c:v>4.8189999999999997E-2</c:v>
                </c:pt>
                <c:pt idx="573">
                  <c:v>4.478E-2</c:v>
                </c:pt>
                <c:pt idx="574">
                  <c:v>0.10811</c:v>
                </c:pt>
                <c:pt idx="575">
                  <c:v>7.1429999999999993E-2</c:v>
                </c:pt>
                <c:pt idx="576">
                  <c:v>4.1099999999999998E-2</c:v>
                </c:pt>
                <c:pt idx="577">
                  <c:v>2.9409999999999999E-2</c:v>
                </c:pt>
                <c:pt idx="578">
                  <c:v>4.478E-2</c:v>
                </c:pt>
                <c:pt idx="579">
                  <c:v>7.8649999999999998E-2</c:v>
                </c:pt>
                <c:pt idx="580">
                  <c:v>4.4299999999999999E-2</c:v>
                </c:pt>
                <c:pt idx="581">
                  <c:v>3.049E-2</c:v>
                </c:pt>
                <c:pt idx="582">
                  <c:v>3.8960000000000002E-2</c:v>
                </c:pt>
                <c:pt idx="583">
                  <c:v>5.1470000000000002E-2</c:v>
                </c:pt>
                <c:pt idx="584">
                  <c:v>4.6510000000000003E-2</c:v>
                </c:pt>
                <c:pt idx="585">
                  <c:v>4.8189999999999997E-2</c:v>
                </c:pt>
                <c:pt idx="586">
                  <c:v>5.9700000000000003E-2</c:v>
                </c:pt>
                <c:pt idx="587">
                  <c:v>2.597E-2</c:v>
                </c:pt>
                <c:pt idx="588">
                  <c:v>2.597E-2</c:v>
                </c:pt>
                <c:pt idx="589">
                  <c:v>3.6589999999999998E-2</c:v>
                </c:pt>
                <c:pt idx="590">
                  <c:v>7.7920000000000003E-2</c:v>
                </c:pt>
                <c:pt idx="591">
                  <c:v>3.0929999999999999E-2</c:v>
                </c:pt>
                <c:pt idx="592">
                  <c:v>2.41E-2</c:v>
                </c:pt>
                <c:pt idx="593">
                  <c:v>5.4879999999999998E-2</c:v>
                </c:pt>
                <c:pt idx="594">
                  <c:v>2.0199999999999999E-2</c:v>
                </c:pt>
                <c:pt idx="595">
                  <c:v>9.0910000000000005E-2</c:v>
                </c:pt>
                <c:pt idx="596">
                  <c:v>6.7710000000000006E-2</c:v>
                </c:pt>
                <c:pt idx="597">
                  <c:v>3.2969999999999999E-2</c:v>
                </c:pt>
                <c:pt idx="598">
                  <c:v>7.6920000000000002E-2</c:v>
                </c:pt>
                <c:pt idx="599">
                  <c:v>4.598E-2</c:v>
                </c:pt>
                <c:pt idx="600">
                  <c:v>3.261E-2</c:v>
                </c:pt>
                <c:pt idx="601">
                  <c:v>3.8890000000000001E-2</c:v>
                </c:pt>
                <c:pt idx="602">
                  <c:v>5.4219999999999997E-2</c:v>
                </c:pt>
                <c:pt idx="603">
                  <c:v>2.809E-2</c:v>
                </c:pt>
                <c:pt idx="604">
                  <c:v>0.10989</c:v>
                </c:pt>
                <c:pt idx="605">
                  <c:v>4.1669999999999999E-2</c:v>
                </c:pt>
                <c:pt idx="606">
                  <c:v>7.9549999999999996E-2</c:v>
                </c:pt>
                <c:pt idx="607">
                  <c:v>3.431E-2</c:v>
                </c:pt>
                <c:pt idx="608">
                  <c:v>5.8040000000000001E-2</c:v>
                </c:pt>
                <c:pt idx="609">
                  <c:v>7.2919999999999999E-2</c:v>
                </c:pt>
                <c:pt idx="610">
                  <c:v>2.5250000000000002E-2</c:v>
                </c:pt>
                <c:pt idx="611">
                  <c:v>7.0709999999999995E-2</c:v>
                </c:pt>
                <c:pt idx="612">
                  <c:v>3.8890000000000001E-2</c:v>
                </c:pt>
                <c:pt idx="613">
                  <c:v>4.0230000000000002E-2</c:v>
                </c:pt>
                <c:pt idx="614">
                  <c:v>3.9469999999999998E-2</c:v>
                </c:pt>
                <c:pt idx="615">
                  <c:v>1.5630000000000002E-2</c:v>
                </c:pt>
                <c:pt idx="616">
                  <c:v>0.04</c:v>
                </c:pt>
                <c:pt idx="617">
                  <c:v>5.8439999999999999E-2</c:v>
                </c:pt>
                <c:pt idx="618">
                  <c:v>5.4460000000000001E-2</c:v>
                </c:pt>
                <c:pt idx="619">
                  <c:v>1.485E-2</c:v>
                </c:pt>
                <c:pt idx="620">
                  <c:v>7.9210000000000003E-2</c:v>
                </c:pt>
                <c:pt idx="621">
                  <c:v>1.8519999999999998E-2</c:v>
                </c:pt>
                <c:pt idx="622">
                  <c:v>7.2730000000000003E-2</c:v>
                </c:pt>
                <c:pt idx="623">
                  <c:v>7.4709999999999999E-2</c:v>
                </c:pt>
                <c:pt idx="624">
                  <c:v>7.3529999999999998E-2</c:v>
                </c:pt>
                <c:pt idx="625">
                  <c:v>4.369E-2</c:v>
                </c:pt>
                <c:pt idx="626">
                  <c:v>7.1970000000000006E-2</c:v>
                </c:pt>
                <c:pt idx="627">
                  <c:v>8.1820000000000004E-2</c:v>
                </c:pt>
                <c:pt idx="628">
                  <c:v>5.5120000000000002E-2</c:v>
                </c:pt>
                <c:pt idx="629">
                  <c:v>5.2170000000000001E-2</c:v>
                </c:pt>
                <c:pt idx="630">
                  <c:v>8.7720000000000006E-2</c:v>
                </c:pt>
                <c:pt idx="631">
                  <c:v>4.8079999999999998E-2</c:v>
                </c:pt>
                <c:pt idx="632">
                  <c:v>5.4050000000000001E-2</c:v>
                </c:pt>
                <c:pt idx="633">
                  <c:v>6.343E-2</c:v>
                </c:pt>
                <c:pt idx="634">
                  <c:v>3.125E-2</c:v>
                </c:pt>
                <c:pt idx="635">
                  <c:v>3.4619999999999998E-2</c:v>
                </c:pt>
                <c:pt idx="636">
                  <c:v>7.6579999999999995E-2</c:v>
                </c:pt>
                <c:pt idx="637">
                  <c:v>4.6219999999999997E-2</c:v>
                </c:pt>
                <c:pt idx="638">
                  <c:v>5.738E-2</c:v>
                </c:pt>
                <c:pt idx="639">
                  <c:v>5.4690000000000003E-2</c:v>
                </c:pt>
                <c:pt idx="640">
                  <c:v>6.6669999999999993E-2</c:v>
                </c:pt>
                <c:pt idx="641">
                  <c:v>7.7780000000000002E-2</c:v>
                </c:pt>
                <c:pt idx="642">
                  <c:v>6.0749999999999998E-2</c:v>
                </c:pt>
                <c:pt idx="643">
                  <c:v>4.6219999999999997E-2</c:v>
                </c:pt>
                <c:pt idx="644">
                  <c:v>2.5860000000000001E-2</c:v>
                </c:pt>
                <c:pt idx="645">
                  <c:v>8.3330000000000001E-2</c:v>
                </c:pt>
                <c:pt idx="646">
                  <c:v>3.4090000000000002E-2</c:v>
                </c:pt>
                <c:pt idx="647">
                  <c:v>6.3909999999999995E-2</c:v>
                </c:pt>
                <c:pt idx="648">
                  <c:v>4.444E-2</c:v>
                </c:pt>
                <c:pt idx="649">
                  <c:v>6.5570000000000003E-2</c:v>
                </c:pt>
                <c:pt idx="650">
                  <c:v>6.1069999999999999E-2</c:v>
                </c:pt>
                <c:pt idx="651">
                  <c:v>4.6510000000000003E-2</c:v>
                </c:pt>
                <c:pt idx="652">
                  <c:v>3.4880000000000001E-2</c:v>
                </c:pt>
                <c:pt idx="653">
                  <c:v>5.6739999999999999E-2</c:v>
                </c:pt>
                <c:pt idx="654">
                  <c:v>3.1469999999999998E-2</c:v>
                </c:pt>
                <c:pt idx="655">
                  <c:v>4.8280000000000003E-2</c:v>
                </c:pt>
                <c:pt idx="656">
                  <c:v>4.3479999999999998E-2</c:v>
                </c:pt>
                <c:pt idx="657">
                  <c:v>7.4469999999999995E-2</c:v>
                </c:pt>
                <c:pt idx="658">
                  <c:v>4.7449999999999999E-2</c:v>
                </c:pt>
                <c:pt idx="659">
                  <c:v>0.05</c:v>
                </c:pt>
                <c:pt idx="660">
                  <c:v>4.2860000000000002E-2</c:v>
                </c:pt>
                <c:pt idx="661">
                  <c:v>3.0200000000000001E-2</c:v>
                </c:pt>
                <c:pt idx="662">
                  <c:v>2.5930000000000002E-2</c:v>
                </c:pt>
                <c:pt idx="663">
                  <c:v>6.4939999999999998E-2</c:v>
                </c:pt>
                <c:pt idx="664">
                  <c:v>6.5689999999999998E-2</c:v>
                </c:pt>
                <c:pt idx="665">
                  <c:v>7.7700000000000005E-2</c:v>
                </c:pt>
                <c:pt idx="666">
                  <c:v>4.7620000000000003E-2</c:v>
                </c:pt>
                <c:pt idx="667">
                  <c:v>6.3909999999999995E-2</c:v>
                </c:pt>
                <c:pt idx="668">
                  <c:v>4.3860000000000003E-2</c:v>
                </c:pt>
                <c:pt idx="669">
                  <c:v>5.0360000000000002E-2</c:v>
                </c:pt>
                <c:pt idx="670">
                  <c:v>6.5790000000000001E-2</c:v>
                </c:pt>
                <c:pt idx="671">
                  <c:v>5.0720000000000001E-2</c:v>
                </c:pt>
                <c:pt idx="672">
                  <c:v>3.356E-2</c:v>
                </c:pt>
                <c:pt idx="673">
                  <c:v>5.8279999999999998E-2</c:v>
                </c:pt>
                <c:pt idx="674">
                  <c:v>6.3829999999999998E-2</c:v>
                </c:pt>
                <c:pt idx="675">
                  <c:v>7.8770000000000007E-2</c:v>
                </c:pt>
                <c:pt idx="676">
                  <c:v>4.7620000000000003E-2</c:v>
                </c:pt>
                <c:pt idx="677">
                  <c:v>7.1919999999999998E-2</c:v>
                </c:pt>
                <c:pt idx="678">
                  <c:v>7.8950000000000006E-2</c:v>
                </c:pt>
                <c:pt idx="679">
                  <c:v>3.7789999999999997E-2</c:v>
                </c:pt>
                <c:pt idx="680">
                  <c:v>4.4690000000000001E-2</c:v>
                </c:pt>
                <c:pt idx="681">
                  <c:v>5.5899999999999998E-2</c:v>
                </c:pt>
                <c:pt idx="682">
                  <c:v>5.1520000000000003E-2</c:v>
                </c:pt>
                <c:pt idx="683">
                  <c:v>6.1350000000000002E-2</c:v>
                </c:pt>
                <c:pt idx="684">
                  <c:v>5.4789999999999998E-2</c:v>
                </c:pt>
                <c:pt idx="685">
                  <c:v>5.4949999999999999E-2</c:v>
                </c:pt>
                <c:pt idx="686">
                  <c:v>7.7420000000000003E-2</c:v>
                </c:pt>
                <c:pt idx="687">
                  <c:v>4.1669999999999999E-2</c:v>
                </c:pt>
                <c:pt idx="688">
                  <c:v>8.974E-2</c:v>
                </c:pt>
                <c:pt idx="689">
                  <c:v>5.3069999999999999E-2</c:v>
                </c:pt>
                <c:pt idx="690">
                  <c:v>7.0510000000000003E-2</c:v>
                </c:pt>
                <c:pt idx="691">
                  <c:v>6.5329999999999999E-2</c:v>
                </c:pt>
                <c:pt idx="692">
                  <c:v>5.8659999999999997E-2</c:v>
                </c:pt>
                <c:pt idx="693">
                  <c:v>3.9219999999999998E-2</c:v>
                </c:pt>
                <c:pt idx="694">
                  <c:v>6.8059999999999996E-2</c:v>
                </c:pt>
                <c:pt idx="695">
                  <c:v>9.0660000000000004E-2</c:v>
                </c:pt>
                <c:pt idx="696">
                  <c:v>4.19E-2</c:v>
                </c:pt>
                <c:pt idx="697">
                  <c:v>5.1429999999999997E-2</c:v>
                </c:pt>
                <c:pt idx="698">
                  <c:v>4.8910000000000002E-2</c:v>
                </c:pt>
                <c:pt idx="699">
                  <c:v>3.8240000000000003E-2</c:v>
                </c:pt>
                <c:pt idx="700">
                  <c:v>5.738E-2</c:v>
                </c:pt>
                <c:pt idx="701">
                  <c:v>5.0229999999999997E-2</c:v>
                </c:pt>
                <c:pt idx="702">
                  <c:v>7.0269999999999999E-2</c:v>
                </c:pt>
                <c:pt idx="703">
                  <c:v>8.0310000000000006E-2</c:v>
                </c:pt>
                <c:pt idx="704">
                  <c:v>3.5529999999999999E-2</c:v>
                </c:pt>
                <c:pt idx="705">
                  <c:v>0.05</c:v>
                </c:pt>
                <c:pt idx="706">
                  <c:v>5.3740000000000003E-2</c:v>
                </c:pt>
                <c:pt idx="707">
                  <c:v>5.833E-2</c:v>
                </c:pt>
                <c:pt idx="708">
                  <c:v>4.598E-2</c:v>
                </c:pt>
                <c:pt idx="709">
                  <c:v>8.0790000000000001E-2</c:v>
                </c:pt>
                <c:pt idx="710">
                  <c:v>6.0749999999999998E-2</c:v>
                </c:pt>
                <c:pt idx="711">
                  <c:v>8.6050000000000001E-2</c:v>
                </c:pt>
                <c:pt idx="712">
                  <c:v>5.7140000000000003E-2</c:v>
                </c:pt>
                <c:pt idx="713">
                  <c:v>6.216E-2</c:v>
                </c:pt>
                <c:pt idx="714">
                  <c:v>9.1130000000000003E-2</c:v>
                </c:pt>
                <c:pt idx="715">
                  <c:v>4.8840000000000001E-2</c:v>
                </c:pt>
                <c:pt idx="716">
                  <c:v>8.5250000000000006E-2</c:v>
                </c:pt>
                <c:pt idx="717">
                  <c:v>6.7500000000000004E-2</c:v>
                </c:pt>
                <c:pt idx="718">
                  <c:v>8.4510000000000002E-2</c:v>
                </c:pt>
                <c:pt idx="719">
                  <c:v>8.0649999999999999E-2</c:v>
                </c:pt>
                <c:pt idx="720">
                  <c:v>4.9549999999999997E-2</c:v>
                </c:pt>
                <c:pt idx="721">
                  <c:v>9.1840000000000005E-2</c:v>
                </c:pt>
                <c:pt idx="722">
                  <c:v>4.7620000000000003E-2</c:v>
                </c:pt>
                <c:pt idx="723">
                  <c:v>6.9440000000000002E-2</c:v>
                </c:pt>
                <c:pt idx="724">
                  <c:v>8.0430000000000001E-2</c:v>
                </c:pt>
                <c:pt idx="725">
                  <c:v>7.9170000000000004E-2</c:v>
                </c:pt>
                <c:pt idx="726">
                  <c:v>9.5130000000000006E-2</c:v>
                </c:pt>
                <c:pt idx="727">
                  <c:v>8.6959999999999996E-2</c:v>
                </c:pt>
                <c:pt idx="728">
                  <c:v>4.0489999999999998E-2</c:v>
                </c:pt>
                <c:pt idx="729">
                  <c:v>4.5449999999999997E-2</c:v>
                </c:pt>
                <c:pt idx="730">
                  <c:v>7.399E-2</c:v>
                </c:pt>
                <c:pt idx="731">
                  <c:v>6.8769999999999998E-2</c:v>
                </c:pt>
                <c:pt idx="732">
                  <c:v>5.2130000000000003E-2</c:v>
                </c:pt>
                <c:pt idx="733">
                  <c:v>8.7609999999999993E-2</c:v>
                </c:pt>
                <c:pt idx="734">
                  <c:v>8.233E-2</c:v>
                </c:pt>
                <c:pt idx="735">
                  <c:v>6.4850000000000005E-2</c:v>
                </c:pt>
                <c:pt idx="736">
                  <c:v>6.3060000000000005E-2</c:v>
                </c:pt>
                <c:pt idx="737">
                  <c:v>6.8089999999999998E-2</c:v>
                </c:pt>
                <c:pt idx="738">
                  <c:v>5.6680000000000001E-2</c:v>
                </c:pt>
                <c:pt idx="739">
                  <c:v>4.1840000000000002E-2</c:v>
                </c:pt>
                <c:pt idx="740">
                  <c:v>8.8889999999999997E-2</c:v>
                </c:pt>
                <c:pt idx="741">
                  <c:v>0.11355</c:v>
                </c:pt>
                <c:pt idx="742">
                  <c:v>8.2030000000000006E-2</c:v>
                </c:pt>
                <c:pt idx="743">
                  <c:v>9.3869999999999995E-2</c:v>
                </c:pt>
                <c:pt idx="744">
                  <c:v>7.51E-2</c:v>
                </c:pt>
                <c:pt idx="745">
                  <c:v>6.9769999999999999E-2</c:v>
                </c:pt>
                <c:pt idx="746">
                  <c:v>6.0499999999999998E-2</c:v>
                </c:pt>
                <c:pt idx="747">
                  <c:v>8.3030000000000007E-2</c:v>
                </c:pt>
                <c:pt idx="748">
                  <c:v>6.9599999999999995E-2</c:v>
                </c:pt>
                <c:pt idx="749">
                  <c:v>9.1759999999999994E-2</c:v>
                </c:pt>
                <c:pt idx="750">
                  <c:v>8.949E-2</c:v>
                </c:pt>
                <c:pt idx="751">
                  <c:v>9.0910000000000005E-2</c:v>
                </c:pt>
                <c:pt idx="752">
                  <c:v>6.4850000000000005E-2</c:v>
                </c:pt>
                <c:pt idx="753">
                  <c:v>5.5559999999999998E-2</c:v>
                </c:pt>
                <c:pt idx="754">
                  <c:v>7.22E-2</c:v>
                </c:pt>
                <c:pt idx="755">
                  <c:v>7.8240000000000004E-2</c:v>
                </c:pt>
                <c:pt idx="756">
                  <c:v>5.1720000000000002E-2</c:v>
                </c:pt>
                <c:pt idx="757">
                  <c:v>5.849E-2</c:v>
                </c:pt>
                <c:pt idx="758">
                  <c:v>6.5019999999999994E-2</c:v>
                </c:pt>
                <c:pt idx="759">
                  <c:v>6.071E-2</c:v>
                </c:pt>
                <c:pt idx="760">
                  <c:v>9.1740000000000002E-2</c:v>
                </c:pt>
                <c:pt idx="761">
                  <c:v>6.198E-2</c:v>
                </c:pt>
                <c:pt idx="762">
                  <c:v>7.3480000000000004E-2</c:v>
                </c:pt>
                <c:pt idx="763">
                  <c:v>0.10269</c:v>
                </c:pt>
                <c:pt idx="764">
                  <c:v>7.9579999999999998E-2</c:v>
                </c:pt>
                <c:pt idx="765">
                  <c:v>6.7820000000000005E-2</c:v>
                </c:pt>
                <c:pt idx="766">
                  <c:v>5.611E-2</c:v>
                </c:pt>
                <c:pt idx="767">
                  <c:v>8.133E-2</c:v>
                </c:pt>
                <c:pt idx="768">
                  <c:v>7.5249999999999997E-2</c:v>
                </c:pt>
                <c:pt idx="769">
                  <c:v>6.2909999999999994E-2</c:v>
                </c:pt>
                <c:pt idx="770">
                  <c:v>9.2149999999999996E-2</c:v>
                </c:pt>
                <c:pt idx="771">
                  <c:v>4.215E-2</c:v>
                </c:pt>
                <c:pt idx="772">
                  <c:v>7.0510000000000003E-2</c:v>
                </c:pt>
                <c:pt idx="773">
                  <c:v>7.0029999999999995E-2</c:v>
                </c:pt>
                <c:pt idx="774">
                  <c:v>5.8819999999999997E-2</c:v>
                </c:pt>
                <c:pt idx="775">
                  <c:v>8.906E-2</c:v>
                </c:pt>
                <c:pt idx="776">
                  <c:v>9.0630000000000002E-2</c:v>
                </c:pt>
                <c:pt idx="777">
                  <c:v>5.781E-2</c:v>
                </c:pt>
                <c:pt idx="778">
                  <c:v>8.4640000000000007E-2</c:v>
                </c:pt>
                <c:pt idx="779">
                  <c:v>7.0110000000000006E-2</c:v>
                </c:pt>
                <c:pt idx="780">
                  <c:v>7.7039999999999997E-2</c:v>
                </c:pt>
                <c:pt idx="781">
                  <c:v>9.5380000000000006E-2</c:v>
                </c:pt>
                <c:pt idx="782">
                  <c:v>6.719E-2</c:v>
                </c:pt>
                <c:pt idx="783">
                  <c:v>6.5659999999999996E-2</c:v>
                </c:pt>
                <c:pt idx="784">
                  <c:v>5.4690000000000003E-2</c:v>
                </c:pt>
                <c:pt idx="785">
                  <c:v>8.9940000000000006E-2</c:v>
                </c:pt>
                <c:pt idx="786">
                  <c:v>6.3189999999999996E-2</c:v>
                </c:pt>
                <c:pt idx="787">
                  <c:v>6.2829999999999997E-2</c:v>
                </c:pt>
                <c:pt idx="788">
                  <c:v>0.11029</c:v>
                </c:pt>
                <c:pt idx="789">
                  <c:v>7.5499999999999998E-2</c:v>
                </c:pt>
                <c:pt idx="790">
                  <c:v>7.9299999999999995E-2</c:v>
                </c:pt>
                <c:pt idx="791">
                  <c:v>7.8950000000000006E-2</c:v>
                </c:pt>
                <c:pt idx="792">
                  <c:v>9.9250000000000005E-2</c:v>
                </c:pt>
                <c:pt idx="793">
                  <c:v>6.0339999999999998E-2</c:v>
                </c:pt>
                <c:pt idx="794">
                  <c:v>9.3310000000000004E-2</c:v>
                </c:pt>
                <c:pt idx="795">
                  <c:v>7.2859999999999994E-2</c:v>
                </c:pt>
                <c:pt idx="796">
                  <c:v>9.8610000000000003E-2</c:v>
                </c:pt>
                <c:pt idx="797">
                  <c:v>5.3440000000000001E-2</c:v>
                </c:pt>
                <c:pt idx="798">
                  <c:v>6.9150000000000003E-2</c:v>
                </c:pt>
                <c:pt idx="799">
                  <c:v>6.8070000000000006E-2</c:v>
                </c:pt>
                <c:pt idx="800">
                  <c:v>6.9110000000000005E-2</c:v>
                </c:pt>
                <c:pt idx="801">
                  <c:v>5.9279999999999999E-2</c:v>
                </c:pt>
                <c:pt idx="802">
                  <c:v>6.6750000000000004E-2</c:v>
                </c:pt>
                <c:pt idx="803">
                  <c:v>8.1490000000000007E-2</c:v>
                </c:pt>
                <c:pt idx="804">
                  <c:v>9.2460000000000001E-2</c:v>
                </c:pt>
                <c:pt idx="805">
                  <c:v>7.3300000000000004E-2</c:v>
                </c:pt>
                <c:pt idx="806">
                  <c:v>8.7760000000000005E-2</c:v>
                </c:pt>
                <c:pt idx="807">
                  <c:v>8.0610000000000001E-2</c:v>
                </c:pt>
                <c:pt idx="808">
                  <c:v>8.8830000000000006E-2</c:v>
                </c:pt>
                <c:pt idx="809">
                  <c:v>9.7850000000000006E-2</c:v>
                </c:pt>
                <c:pt idx="810">
                  <c:v>6.6669999999999993E-2</c:v>
                </c:pt>
                <c:pt idx="811">
                  <c:v>7.127E-2</c:v>
                </c:pt>
                <c:pt idx="812">
                  <c:v>7.5060000000000002E-2</c:v>
                </c:pt>
                <c:pt idx="813">
                  <c:v>8.0360000000000001E-2</c:v>
                </c:pt>
                <c:pt idx="814">
                  <c:v>8.2290000000000002E-2</c:v>
                </c:pt>
                <c:pt idx="815">
                  <c:v>6.5110000000000001E-2</c:v>
                </c:pt>
                <c:pt idx="816">
                  <c:v>9.4869999999999996E-2</c:v>
                </c:pt>
                <c:pt idx="817">
                  <c:v>0.10337</c:v>
                </c:pt>
                <c:pt idx="818">
                  <c:v>5.3990000000000003E-2</c:v>
                </c:pt>
                <c:pt idx="819">
                  <c:v>7.1429999999999993E-2</c:v>
                </c:pt>
                <c:pt idx="820">
                  <c:v>8.9289999999999994E-2</c:v>
                </c:pt>
                <c:pt idx="821">
                  <c:v>8.2769999999999996E-2</c:v>
                </c:pt>
                <c:pt idx="822">
                  <c:v>8.3919999999999995E-2</c:v>
                </c:pt>
                <c:pt idx="823">
                  <c:v>6.6669999999999993E-2</c:v>
                </c:pt>
                <c:pt idx="824">
                  <c:v>9.4810000000000005E-2</c:v>
                </c:pt>
                <c:pt idx="825">
                  <c:v>8.1519999999999995E-2</c:v>
                </c:pt>
                <c:pt idx="826">
                  <c:v>8.2669999999999993E-2</c:v>
                </c:pt>
                <c:pt idx="827">
                  <c:v>6.6890000000000005E-2</c:v>
                </c:pt>
                <c:pt idx="828">
                  <c:v>6.6129999999999994E-2</c:v>
                </c:pt>
                <c:pt idx="829">
                  <c:v>7.7249999999999999E-2</c:v>
                </c:pt>
                <c:pt idx="830">
                  <c:v>8.6319999999999994E-2</c:v>
                </c:pt>
                <c:pt idx="831">
                  <c:v>7.8589999999999993E-2</c:v>
                </c:pt>
                <c:pt idx="832">
                  <c:v>7.2020000000000001E-2</c:v>
                </c:pt>
                <c:pt idx="833">
                  <c:v>7.5889999999999999E-2</c:v>
                </c:pt>
                <c:pt idx="834">
                  <c:v>7.4700000000000003E-2</c:v>
                </c:pt>
                <c:pt idx="835">
                  <c:v>0.11491999999999999</c:v>
                </c:pt>
                <c:pt idx="836">
                  <c:v>7.1580000000000005E-2</c:v>
                </c:pt>
                <c:pt idx="837">
                  <c:v>0.12981999999999999</c:v>
                </c:pt>
                <c:pt idx="838">
                  <c:v>0.10381</c:v>
                </c:pt>
                <c:pt idx="839">
                  <c:v>8.8300000000000003E-2</c:v>
                </c:pt>
                <c:pt idx="840">
                  <c:v>9.7689999999999999E-2</c:v>
                </c:pt>
                <c:pt idx="841">
                  <c:v>9.3189999999999995E-2</c:v>
                </c:pt>
                <c:pt idx="842">
                  <c:v>9.2020000000000005E-2</c:v>
                </c:pt>
                <c:pt idx="843">
                  <c:v>7.9519999999999993E-2</c:v>
                </c:pt>
                <c:pt idx="844">
                  <c:v>0.11495</c:v>
                </c:pt>
                <c:pt idx="845">
                  <c:v>8.7319999999999995E-2</c:v>
                </c:pt>
                <c:pt idx="846">
                  <c:v>9.3640000000000001E-2</c:v>
                </c:pt>
                <c:pt idx="847">
                  <c:v>8.1820000000000004E-2</c:v>
                </c:pt>
                <c:pt idx="848">
                  <c:v>9.4589999999999994E-2</c:v>
                </c:pt>
                <c:pt idx="849">
                  <c:v>9.9150000000000002E-2</c:v>
                </c:pt>
                <c:pt idx="850">
                  <c:v>0.11927</c:v>
                </c:pt>
                <c:pt idx="851">
                  <c:v>8.7319999999999995E-2</c:v>
                </c:pt>
                <c:pt idx="852">
                  <c:v>8.9859999999999995E-2</c:v>
                </c:pt>
                <c:pt idx="853">
                  <c:v>0.12095</c:v>
                </c:pt>
                <c:pt idx="854">
                  <c:v>0.10174</c:v>
                </c:pt>
                <c:pt idx="855">
                  <c:v>9.9659999999999999E-2</c:v>
                </c:pt>
                <c:pt idx="856">
                  <c:v>9.7689999999999999E-2</c:v>
                </c:pt>
                <c:pt idx="857">
                  <c:v>7.918E-2</c:v>
                </c:pt>
                <c:pt idx="858">
                  <c:v>8.8929999999999995E-2</c:v>
                </c:pt>
                <c:pt idx="859">
                  <c:v>9.5240000000000005E-2</c:v>
                </c:pt>
                <c:pt idx="860">
                  <c:v>8.0399999999999999E-2</c:v>
                </c:pt>
                <c:pt idx="861">
                  <c:v>8.405E-2</c:v>
                </c:pt>
                <c:pt idx="862">
                  <c:v>0.10095</c:v>
                </c:pt>
                <c:pt idx="863">
                  <c:v>0.10018000000000001</c:v>
                </c:pt>
                <c:pt idx="864">
                  <c:v>8.9590000000000003E-2</c:v>
                </c:pt>
                <c:pt idx="865">
                  <c:v>0.10192</c:v>
                </c:pt>
                <c:pt idx="866">
                  <c:v>7.3660000000000003E-2</c:v>
                </c:pt>
                <c:pt idx="867">
                  <c:v>0.10052999999999999</c:v>
                </c:pt>
                <c:pt idx="868">
                  <c:v>8.1769999999999995E-2</c:v>
                </c:pt>
                <c:pt idx="869">
                  <c:v>0.11811000000000001</c:v>
                </c:pt>
                <c:pt idx="870">
                  <c:v>7.9560000000000006E-2</c:v>
                </c:pt>
                <c:pt idx="871">
                  <c:v>0.11244</c:v>
                </c:pt>
                <c:pt idx="872">
                  <c:v>0.11216</c:v>
                </c:pt>
                <c:pt idx="873">
                  <c:v>0.10947</c:v>
                </c:pt>
                <c:pt idx="874">
                  <c:v>9.0300000000000005E-2</c:v>
                </c:pt>
                <c:pt idx="875">
                  <c:v>0.10673000000000001</c:v>
                </c:pt>
                <c:pt idx="876">
                  <c:v>8.7120000000000003E-2</c:v>
                </c:pt>
                <c:pt idx="877">
                  <c:v>8.9389999999999997E-2</c:v>
                </c:pt>
                <c:pt idx="878">
                  <c:v>9.3899999999999997E-2</c:v>
                </c:pt>
                <c:pt idx="879">
                  <c:v>9.937E-2</c:v>
                </c:pt>
                <c:pt idx="880">
                  <c:v>8.5690000000000002E-2</c:v>
                </c:pt>
                <c:pt idx="881">
                  <c:v>8.7959999999999997E-2</c:v>
                </c:pt>
                <c:pt idx="882">
                  <c:v>0.10704</c:v>
                </c:pt>
                <c:pt idx="883">
                  <c:v>9.493E-2</c:v>
                </c:pt>
                <c:pt idx="884">
                  <c:v>0.10617</c:v>
                </c:pt>
                <c:pt idx="885">
                  <c:v>0.1096</c:v>
                </c:pt>
                <c:pt idx="886">
                  <c:v>9.3469999999999998E-2</c:v>
                </c:pt>
                <c:pt idx="887">
                  <c:v>0.1056</c:v>
                </c:pt>
                <c:pt idx="888">
                  <c:v>9.7009999999999999E-2</c:v>
                </c:pt>
                <c:pt idx="889">
                  <c:v>0.11458</c:v>
                </c:pt>
                <c:pt idx="890">
                  <c:v>9.1639999999999999E-2</c:v>
                </c:pt>
                <c:pt idx="891">
                  <c:v>0.10538</c:v>
                </c:pt>
                <c:pt idx="892">
                  <c:v>9.4979999999999995E-2</c:v>
                </c:pt>
                <c:pt idx="893">
                  <c:v>0.10219</c:v>
                </c:pt>
                <c:pt idx="894">
                  <c:v>0.10915</c:v>
                </c:pt>
                <c:pt idx="895">
                  <c:v>0.11464000000000001</c:v>
                </c:pt>
                <c:pt idx="896">
                  <c:v>0.1198</c:v>
                </c:pt>
                <c:pt idx="897">
                  <c:v>9.5949999999999994E-2</c:v>
                </c:pt>
                <c:pt idx="898">
                  <c:v>0.10576000000000001</c:v>
                </c:pt>
                <c:pt idx="899">
                  <c:v>9.1259999999999994E-2</c:v>
                </c:pt>
                <c:pt idx="900">
                  <c:v>0.12553</c:v>
                </c:pt>
                <c:pt idx="901">
                  <c:v>0.1137</c:v>
                </c:pt>
                <c:pt idx="902">
                  <c:v>0.10211000000000001</c:v>
                </c:pt>
                <c:pt idx="903">
                  <c:v>0.10523</c:v>
                </c:pt>
                <c:pt idx="904">
                  <c:v>0.1168</c:v>
                </c:pt>
                <c:pt idx="905">
                  <c:v>0.10392</c:v>
                </c:pt>
                <c:pt idx="906">
                  <c:v>0.11513</c:v>
                </c:pt>
                <c:pt idx="907">
                  <c:v>0.10768999999999999</c:v>
                </c:pt>
                <c:pt idx="908">
                  <c:v>0.12659000000000001</c:v>
                </c:pt>
                <c:pt idx="909">
                  <c:v>0.10117</c:v>
                </c:pt>
                <c:pt idx="910">
                  <c:v>0.11494</c:v>
                </c:pt>
                <c:pt idx="911">
                  <c:v>0.11018</c:v>
                </c:pt>
                <c:pt idx="912">
                  <c:v>0.13414999999999999</c:v>
                </c:pt>
                <c:pt idx="913">
                  <c:v>0.11945</c:v>
                </c:pt>
                <c:pt idx="914">
                  <c:v>9.3829999999999997E-2</c:v>
                </c:pt>
                <c:pt idx="915">
                  <c:v>0.11304</c:v>
                </c:pt>
                <c:pt idx="916">
                  <c:v>8.881E-2</c:v>
                </c:pt>
                <c:pt idx="917">
                  <c:v>0.10221</c:v>
                </c:pt>
                <c:pt idx="918">
                  <c:v>0.1023</c:v>
                </c:pt>
                <c:pt idx="919">
                  <c:v>0.10226</c:v>
                </c:pt>
                <c:pt idx="920">
                  <c:v>0.10999</c:v>
                </c:pt>
                <c:pt idx="921">
                  <c:v>0.10174999999999999</c:v>
                </c:pt>
                <c:pt idx="922">
                  <c:v>0.11786000000000001</c:v>
                </c:pt>
                <c:pt idx="923">
                  <c:v>9.8210000000000006E-2</c:v>
                </c:pt>
                <c:pt idx="924">
                  <c:v>0.10473</c:v>
                </c:pt>
                <c:pt idx="925">
                  <c:v>0.10102</c:v>
                </c:pt>
                <c:pt idx="926">
                  <c:v>9.7089999999999996E-2</c:v>
                </c:pt>
                <c:pt idx="927">
                  <c:v>0.10611</c:v>
                </c:pt>
                <c:pt idx="928">
                  <c:v>0.11327</c:v>
                </c:pt>
                <c:pt idx="929">
                  <c:v>0.11308</c:v>
                </c:pt>
                <c:pt idx="930">
                  <c:v>0.10584</c:v>
                </c:pt>
                <c:pt idx="931">
                  <c:v>0.10358000000000001</c:v>
                </c:pt>
                <c:pt idx="932">
                  <c:v>0.10041</c:v>
                </c:pt>
                <c:pt idx="933">
                  <c:v>0.10817</c:v>
                </c:pt>
                <c:pt idx="934">
                  <c:v>0.11117</c:v>
                </c:pt>
                <c:pt idx="935">
                  <c:v>0.10893</c:v>
                </c:pt>
                <c:pt idx="936">
                  <c:v>0.1166</c:v>
                </c:pt>
                <c:pt idx="937">
                  <c:v>0.11545999999999999</c:v>
                </c:pt>
                <c:pt idx="938">
                  <c:v>0.12756000000000001</c:v>
                </c:pt>
                <c:pt idx="939">
                  <c:v>0.12474</c:v>
                </c:pt>
                <c:pt idx="940">
                  <c:v>0.10789</c:v>
                </c:pt>
                <c:pt idx="941">
                  <c:v>0.1106</c:v>
                </c:pt>
                <c:pt idx="942">
                  <c:v>0.11472</c:v>
                </c:pt>
                <c:pt idx="943">
                  <c:v>0.13242999999999999</c:v>
                </c:pt>
                <c:pt idx="944">
                  <c:v>0.12329</c:v>
                </c:pt>
                <c:pt idx="945">
                  <c:v>0.10288</c:v>
                </c:pt>
                <c:pt idx="946">
                  <c:v>0.12074</c:v>
                </c:pt>
                <c:pt idx="947">
                  <c:v>0.11384</c:v>
                </c:pt>
                <c:pt idx="948">
                  <c:v>0.12056</c:v>
                </c:pt>
                <c:pt idx="949">
                  <c:v>0.13134999999999999</c:v>
                </c:pt>
                <c:pt idx="950">
                  <c:v>0.12739</c:v>
                </c:pt>
                <c:pt idx="951">
                  <c:v>0.11286</c:v>
                </c:pt>
                <c:pt idx="952">
                  <c:v>0.11283</c:v>
                </c:pt>
                <c:pt idx="953">
                  <c:v>0.11872000000000001</c:v>
                </c:pt>
                <c:pt idx="954">
                  <c:v>0.12673000000000001</c:v>
                </c:pt>
                <c:pt idx="955">
                  <c:v>0.12781999999999999</c:v>
                </c:pt>
                <c:pt idx="956">
                  <c:v>0.12864999999999999</c:v>
                </c:pt>
                <c:pt idx="957">
                  <c:v>0.12684999999999999</c:v>
                </c:pt>
                <c:pt idx="958">
                  <c:v>0.11867</c:v>
                </c:pt>
                <c:pt idx="959">
                  <c:v>0.12144000000000001</c:v>
                </c:pt>
                <c:pt idx="960">
                  <c:v>0.12274</c:v>
                </c:pt>
                <c:pt idx="961">
                  <c:v>0.11973</c:v>
                </c:pt>
                <c:pt idx="962">
                  <c:v>0.1174</c:v>
                </c:pt>
                <c:pt idx="963">
                  <c:v>0.11404</c:v>
                </c:pt>
                <c:pt idx="964">
                  <c:v>0.12923000000000001</c:v>
                </c:pt>
                <c:pt idx="965">
                  <c:v>0.12820999999999999</c:v>
                </c:pt>
                <c:pt idx="966">
                  <c:v>0.13234000000000001</c:v>
                </c:pt>
                <c:pt idx="967">
                  <c:v>0.12017</c:v>
                </c:pt>
                <c:pt idx="968">
                  <c:v>0.13503000000000001</c:v>
                </c:pt>
                <c:pt idx="969">
                  <c:v>0.11935</c:v>
                </c:pt>
                <c:pt idx="970">
                  <c:v>0.13275000000000001</c:v>
                </c:pt>
                <c:pt idx="971">
                  <c:v>0.13023999999999999</c:v>
                </c:pt>
                <c:pt idx="972">
                  <c:v>0.11853</c:v>
                </c:pt>
                <c:pt idx="973">
                  <c:v>0.13483999999999999</c:v>
                </c:pt>
                <c:pt idx="974">
                  <c:v>0.12242</c:v>
                </c:pt>
                <c:pt idx="975">
                  <c:v>0.13466</c:v>
                </c:pt>
                <c:pt idx="976">
                  <c:v>0.12255000000000001</c:v>
                </c:pt>
                <c:pt idx="977">
                  <c:v>0.12609999999999999</c:v>
                </c:pt>
                <c:pt idx="978">
                  <c:v>0.13075999999999999</c:v>
                </c:pt>
                <c:pt idx="979">
                  <c:v>0.12839999999999999</c:v>
                </c:pt>
                <c:pt idx="980">
                  <c:v>0.13921</c:v>
                </c:pt>
                <c:pt idx="981">
                  <c:v>0.12202</c:v>
                </c:pt>
                <c:pt idx="982">
                  <c:v>0.13175000000000001</c:v>
                </c:pt>
                <c:pt idx="983">
                  <c:v>0.11602</c:v>
                </c:pt>
                <c:pt idx="984">
                  <c:v>0.11541</c:v>
                </c:pt>
                <c:pt idx="985">
                  <c:v>0.14743999999999999</c:v>
                </c:pt>
                <c:pt idx="986">
                  <c:v>0.14580000000000001</c:v>
                </c:pt>
                <c:pt idx="987">
                  <c:v>0.13289999999999999</c:v>
                </c:pt>
                <c:pt idx="988">
                  <c:v>0.13764000000000001</c:v>
                </c:pt>
                <c:pt idx="989">
                  <c:v>0.14177000000000001</c:v>
                </c:pt>
                <c:pt idx="990">
                  <c:v>0.12878999999999999</c:v>
                </c:pt>
                <c:pt idx="991">
                  <c:v>0.15483</c:v>
                </c:pt>
                <c:pt idx="992">
                  <c:v>0.11821</c:v>
                </c:pt>
                <c:pt idx="993">
                  <c:v>0.13622999999999999</c:v>
                </c:pt>
                <c:pt idx="994">
                  <c:v>0.12605</c:v>
                </c:pt>
                <c:pt idx="995">
                  <c:v>0.13103000000000001</c:v>
                </c:pt>
                <c:pt idx="996">
                  <c:v>0.13372000000000001</c:v>
                </c:pt>
                <c:pt idx="997">
                  <c:v>0.12395</c:v>
                </c:pt>
                <c:pt idx="998">
                  <c:v>0.12970999999999999</c:v>
                </c:pt>
                <c:pt idx="999">
                  <c:v>0.12703</c:v>
                </c:pt>
                <c:pt idx="1000">
                  <c:v>0.13075000000000001</c:v>
                </c:pt>
                <c:pt idx="1001">
                  <c:v>0.13483999999999999</c:v>
                </c:pt>
                <c:pt idx="1002">
                  <c:v>0.13944000000000001</c:v>
                </c:pt>
                <c:pt idx="1003">
                  <c:v>0.14802000000000001</c:v>
                </c:pt>
                <c:pt idx="1004">
                  <c:v>0.14249999999999999</c:v>
                </c:pt>
                <c:pt idx="1005">
                  <c:v>0.14430999999999999</c:v>
                </c:pt>
                <c:pt idx="1006">
                  <c:v>0.13027</c:v>
                </c:pt>
                <c:pt idx="1007">
                  <c:v>0.14576</c:v>
                </c:pt>
                <c:pt idx="1008">
                  <c:v>0.13322000000000001</c:v>
                </c:pt>
                <c:pt idx="1009">
                  <c:v>0.14630000000000001</c:v>
                </c:pt>
                <c:pt idx="1010">
                  <c:v>0.14687</c:v>
                </c:pt>
                <c:pt idx="1011">
                  <c:v>0.1575</c:v>
                </c:pt>
                <c:pt idx="1012">
                  <c:v>0.14430000000000001</c:v>
                </c:pt>
                <c:pt idx="1013">
                  <c:v>0.13682</c:v>
                </c:pt>
                <c:pt idx="1014">
                  <c:v>0.12847</c:v>
                </c:pt>
                <c:pt idx="1015">
                  <c:v>0.14130999999999999</c:v>
                </c:pt>
                <c:pt idx="1016">
                  <c:v>0.14882000000000001</c:v>
                </c:pt>
                <c:pt idx="1017">
                  <c:v>0.15117</c:v>
                </c:pt>
                <c:pt idx="1018">
                  <c:v>0.14534</c:v>
                </c:pt>
                <c:pt idx="1019">
                  <c:v>0.16286999999999999</c:v>
                </c:pt>
                <c:pt idx="1020">
                  <c:v>0.15559999999999999</c:v>
                </c:pt>
                <c:pt idx="1021">
                  <c:v>0.14409</c:v>
                </c:pt>
                <c:pt idx="1022">
                  <c:v>0.14519000000000001</c:v>
                </c:pt>
                <c:pt idx="1023">
                  <c:v>0.1487</c:v>
                </c:pt>
                <c:pt idx="1024">
                  <c:v>0.14696999999999999</c:v>
                </c:pt>
                <c:pt idx="1025">
                  <c:v>0.15554000000000001</c:v>
                </c:pt>
                <c:pt idx="1026">
                  <c:v>0.14988000000000001</c:v>
                </c:pt>
                <c:pt idx="1027">
                  <c:v>0.15851999999999999</c:v>
                </c:pt>
                <c:pt idx="1028">
                  <c:v>0.13420000000000001</c:v>
                </c:pt>
                <c:pt idx="1029">
                  <c:v>0.15664</c:v>
                </c:pt>
                <c:pt idx="1030">
                  <c:v>0.15282000000000001</c:v>
                </c:pt>
                <c:pt idx="1031">
                  <c:v>0.13800000000000001</c:v>
                </c:pt>
                <c:pt idx="1032">
                  <c:v>0.15489</c:v>
                </c:pt>
                <c:pt idx="1033">
                  <c:v>0.1462</c:v>
                </c:pt>
                <c:pt idx="1034">
                  <c:v>0.14187</c:v>
                </c:pt>
                <c:pt idx="1035">
                  <c:v>0.16066</c:v>
                </c:pt>
                <c:pt idx="1036">
                  <c:v>0.15859999999999999</c:v>
                </c:pt>
                <c:pt idx="1037">
                  <c:v>0.15423999999999999</c:v>
                </c:pt>
                <c:pt idx="1038">
                  <c:v>0.14956</c:v>
                </c:pt>
                <c:pt idx="1039">
                  <c:v>0.16055</c:v>
                </c:pt>
                <c:pt idx="1040">
                  <c:v>0.15057000000000001</c:v>
                </c:pt>
                <c:pt idx="1041">
                  <c:v>0.15514</c:v>
                </c:pt>
                <c:pt idx="1042">
                  <c:v>0.15776999999999999</c:v>
                </c:pt>
                <c:pt idx="1043">
                  <c:v>0.15579000000000001</c:v>
                </c:pt>
                <c:pt idx="1044">
                  <c:v>0.14538999999999999</c:v>
                </c:pt>
                <c:pt idx="1045">
                  <c:v>0.15024000000000001</c:v>
                </c:pt>
                <c:pt idx="1046">
                  <c:v>0.15422</c:v>
                </c:pt>
                <c:pt idx="1047">
                  <c:v>0.17912</c:v>
                </c:pt>
                <c:pt idx="1048">
                  <c:v>0.14935000000000001</c:v>
                </c:pt>
                <c:pt idx="1049">
                  <c:v>0.15692</c:v>
                </c:pt>
                <c:pt idx="1050">
                  <c:v>0.15584000000000001</c:v>
                </c:pt>
                <c:pt idx="1051">
                  <c:v>0.16420999999999999</c:v>
                </c:pt>
                <c:pt idx="1052">
                  <c:v>0.17102999999999999</c:v>
                </c:pt>
                <c:pt idx="1053">
                  <c:v>0.1507</c:v>
                </c:pt>
                <c:pt idx="1054">
                  <c:v>0.16353999999999999</c:v>
                </c:pt>
                <c:pt idx="1055">
                  <c:v>0.18010000000000001</c:v>
                </c:pt>
                <c:pt idx="1056">
                  <c:v>0.15737999999999999</c:v>
                </c:pt>
                <c:pt idx="1057">
                  <c:v>0.17921999999999999</c:v>
                </c:pt>
                <c:pt idx="1058">
                  <c:v>0.16722000000000001</c:v>
                </c:pt>
                <c:pt idx="1059">
                  <c:v>0.16505</c:v>
                </c:pt>
                <c:pt idx="1060">
                  <c:v>0.15805</c:v>
                </c:pt>
                <c:pt idx="1061">
                  <c:v>0.17727999999999999</c:v>
                </c:pt>
                <c:pt idx="1062">
                  <c:v>0.16259000000000001</c:v>
                </c:pt>
                <c:pt idx="1063">
                  <c:v>0.1618</c:v>
                </c:pt>
                <c:pt idx="1064">
                  <c:v>0.16356999999999999</c:v>
                </c:pt>
                <c:pt idx="1065">
                  <c:v>0.16400999999999999</c:v>
                </c:pt>
                <c:pt idx="1066">
                  <c:v>0.18034</c:v>
                </c:pt>
                <c:pt idx="1067">
                  <c:v>0.17978</c:v>
                </c:pt>
                <c:pt idx="1068">
                  <c:v>0.15511</c:v>
                </c:pt>
                <c:pt idx="1069">
                  <c:v>0.15667</c:v>
                </c:pt>
                <c:pt idx="1070">
                  <c:v>0.17113999999999999</c:v>
                </c:pt>
                <c:pt idx="1071">
                  <c:v>0.16783000000000001</c:v>
                </c:pt>
                <c:pt idx="1072">
                  <c:v>0.16177</c:v>
                </c:pt>
                <c:pt idx="1073">
                  <c:v>0.16095999999999999</c:v>
                </c:pt>
                <c:pt idx="1074">
                  <c:v>0.16264000000000001</c:v>
                </c:pt>
                <c:pt idx="1075">
                  <c:v>0.16586999999999999</c:v>
                </c:pt>
                <c:pt idx="1076">
                  <c:v>0.16807</c:v>
                </c:pt>
                <c:pt idx="1077">
                  <c:v>0.1794</c:v>
                </c:pt>
                <c:pt idx="1078">
                  <c:v>0.17363000000000001</c:v>
                </c:pt>
                <c:pt idx="1079">
                  <c:v>0.17479</c:v>
                </c:pt>
                <c:pt idx="1080">
                  <c:v>0.18148</c:v>
                </c:pt>
                <c:pt idx="1081">
                  <c:v>0.17039000000000001</c:v>
                </c:pt>
                <c:pt idx="1082">
                  <c:v>0.19577</c:v>
                </c:pt>
                <c:pt idx="1083">
                  <c:v>0.18435000000000001</c:v>
                </c:pt>
                <c:pt idx="1084">
                  <c:v>0.17641999999999999</c:v>
                </c:pt>
                <c:pt idx="1085">
                  <c:v>0.16986000000000001</c:v>
                </c:pt>
                <c:pt idx="1086">
                  <c:v>0.18756999999999999</c:v>
                </c:pt>
                <c:pt idx="1087">
                  <c:v>0.18151999999999999</c:v>
                </c:pt>
                <c:pt idx="1088">
                  <c:v>0.1827</c:v>
                </c:pt>
                <c:pt idx="1089">
                  <c:v>0.18176</c:v>
                </c:pt>
                <c:pt idx="1090">
                  <c:v>0.17632</c:v>
                </c:pt>
                <c:pt idx="1091">
                  <c:v>0.18007999999999999</c:v>
                </c:pt>
                <c:pt idx="1092">
                  <c:v>0.19067999999999999</c:v>
                </c:pt>
                <c:pt idx="1093">
                  <c:v>0.18201000000000001</c:v>
                </c:pt>
                <c:pt idx="1094">
                  <c:v>0.18104000000000001</c:v>
                </c:pt>
                <c:pt idx="1095">
                  <c:v>0.18704999999999999</c:v>
                </c:pt>
                <c:pt idx="1096">
                  <c:v>0.18934000000000001</c:v>
                </c:pt>
                <c:pt idx="1097">
                  <c:v>0.17929999999999999</c:v>
                </c:pt>
                <c:pt idx="1098">
                  <c:v>0.17362</c:v>
                </c:pt>
                <c:pt idx="1099">
                  <c:v>0.17161000000000001</c:v>
                </c:pt>
                <c:pt idx="1100">
                  <c:v>0.18998000000000001</c:v>
                </c:pt>
                <c:pt idx="1101">
                  <c:v>0.1787</c:v>
                </c:pt>
                <c:pt idx="1102">
                  <c:v>0.17665</c:v>
                </c:pt>
                <c:pt idx="1103">
                  <c:v>0.18456</c:v>
                </c:pt>
                <c:pt idx="1104">
                  <c:v>0.18926000000000001</c:v>
                </c:pt>
                <c:pt idx="1105">
                  <c:v>0.18557000000000001</c:v>
                </c:pt>
                <c:pt idx="1106">
                  <c:v>0.19189999999999999</c:v>
                </c:pt>
                <c:pt idx="1107">
                  <c:v>0.19869000000000001</c:v>
                </c:pt>
                <c:pt idx="1108">
                  <c:v>0.19431999999999999</c:v>
                </c:pt>
                <c:pt idx="1109">
                  <c:v>0.19313</c:v>
                </c:pt>
                <c:pt idx="1110">
                  <c:v>0.19392000000000001</c:v>
                </c:pt>
                <c:pt idx="1111">
                  <c:v>0.18844</c:v>
                </c:pt>
                <c:pt idx="1112">
                  <c:v>0.19658999999999999</c:v>
                </c:pt>
                <c:pt idx="1113">
                  <c:v>0.19084000000000001</c:v>
                </c:pt>
                <c:pt idx="1114">
                  <c:v>0.19042999999999999</c:v>
                </c:pt>
                <c:pt idx="1115">
                  <c:v>0.19128000000000001</c:v>
                </c:pt>
                <c:pt idx="1116">
                  <c:v>0.20379</c:v>
                </c:pt>
                <c:pt idx="1117">
                  <c:v>0.20029</c:v>
                </c:pt>
                <c:pt idx="1118">
                  <c:v>0.18787000000000001</c:v>
                </c:pt>
                <c:pt idx="1119">
                  <c:v>0.19792000000000001</c:v>
                </c:pt>
                <c:pt idx="1120">
                  <c:v>0.18768000000000001</c:v>
                </c:pt>
                <c:pt idx="1121">
                  <c:v>0.20238</c:v>
                </c:pt>
                <c:pt idx="1122">
                  <c:v>0.20013</c:v>
                </c:pt>
                <c:pt idx="1123">
                  <c:v>0.20115</c:v>
                </c:pt>
                <c:pt idx="1124">
                  <c:v>0.18584000000000001</c:v>
                </c:pt>
                <c:pt idx="1125">
                  <c:v>0.19023000000000001</c:v>
                </c:pt>
                <c:pt idx="1126">
                  <c:v>0.21720999999999999</c:v>
                </c:pt>
                <c:pt idx="1127">
                  <c:v>0.19997000000000001</c:v>
                </c:pt>
                <c:pt idx="1128">
                  <c:v>0.2029</c:v>
                </c:pt>
                <c:pt idx="1129">
                  <c:v>0.18546000000000001</c:v>
                </c:pt>
                <c:pt idx="1130">
                  <c:v>0.20535999999999999</c:v>
                </c:pt>
                <c:pt idx="1131">
                  <c:v>0.19849</c:v>
                </c:pt>
                <c:pt idx="1132">
                  <c:v>0.20773</c:v>
                </c:pt>
                <c:pt idx="1133">
                  <c:v>0.19891</c:v>
                </c:pt>
                <c:pt idx="1134">
                  <c:v>0.19997000000000001</c:v>
                </c:pt>
                <c:pt idx="1135">
                  <c:v>0.24662000000000001</c:v>
                </c:pt>
                <c:pt idx="1136">
                  <c:v>0.20333999999999999</c:v>
                </c:pt>
                <c:pt idx="1137">
                  <c:v>0.2049</c:v>
                </c:pt>
                <c:pt idx="1138">
                  <c:v>0.20013</c:v>
                </c:pt>
                <c:pt idx="1139">
                  <c:v>0.20326</c:v>
                </c:pt>
                <c:pt idx="1140">
                  <c:v>0.20524000000000001</c:v>
                </c:pt>
                <c:pt idx="1141">
                  <c:v>0.20899000000000001</c:v>
                </c:pt>
                <c:pt idx="1142">
                  <c:v>0.20852000000000001</c:v>
                </c:pt>
                <c:pt idx="1143">
                  <c:v>0.20594999999999999</c:v>
                </c:pt>
                <c:pt idx="1144">
                  <c:v>0.20818</c:v>
                </c:pt>
                <c:pt idx="1145">
                  <c:v>0.21421000000000001</c:v>
                </c:pt>
                <c:pt idx="1146">
                  <c:v>0.20967</c:v>
                </c:pt>
                <c:pt idx="1147">
                  <c:v>0.21809000000000001</c:v>
                </c:pt>
                <c:pt idx="1148">
                  <c:v>0.21168999999999999</c:v>
                </c:pt>
                <c:pt idx="1149">
                  <c:v>0.21021000000000001</c:v>
                </c:pt>
                <c:pt idx="1150">
                  <c:v>0.21765999999999999</c:v>
                </c:pt>
                <c:pt idx="1151">
                  <c:v>0.21179999999999999</c:v>
                </c:pt>
                <c:pt idx="1152">
                  <c:v>0.22267999999999999</c:v>
                </c:pt>
                <c:pt idx="1153">
                  <c:v>0.21632999999999999</c:v>
                </c:pt>
                <c:pt idx="1154">
                  <c:v>0.21687000000000001</c:v>
                </c:pt>
                <c:pt idx="1155">
                  <c:v>0.22419</c:v>
                </c:pt>
                <c:pt idx="1156">
                  <c:v>0.21729000000000001</c:v>
                </c:pt>
                <c:pt idx="1157">
                  <c:v>0.22850000000000001</c:v>
                </c:pt>
                <c:pt idx="1158">
                  <c:v>0.21576999999999999</c:v>
                </c:pt>
                <c:pt idx="1159">
                  <c:v>0.20906</c:v>
                </c:pt>
                <c:pt idx="1160">
                  <c:v>0.22550999999999999</c:v>
                </c:pt>
                <c:pt idx="1161">
                  <c:v>0.22145999999999999</c:v>
                </c:pt>
                <c:pt idx="1162">
                  <c:v>0.22015999999999999</c:v>
                </c:pt>
                <c:pt idx="1163">
                  <c:v>0.22345000000000001</c:v>
                </c:pt>
                <c:pt idx="1164">
                  <c:v>0.22289999999999999</c:v>
                </c:pt>
                <c:pt idx="1165">
                  <c:v>0.21842</c:v>
                </c:pt>
                <c:pt idx="1166">
                  <c:v>0.22123999999999999</c:v>
                </c:pt>
                <c:pt idx="1167">
                  <c:v>0.22040999999999999</c:v>
                </c:pt>
                <c:pt idx="1168">
                  <c:v>0.23227</c:v>
                </c:pt>
                <c:pt idx="1169">
                  <c:v>0.22692000000000001</c:v>
                </c:pt>
                <c:pt idx="1170">
                  <c:v>0.22839999999999999</c:v>
                </c:pt>
                <c:pt idx="1171">
                  <c:v>0.22358</c:v>
                </c:pt>
                <c:pt idx="1172">
                  <c:v>0.2248</c:v>
                </c:pt>
                <c:pt idx="1173">
                  <c:v>0.22874</c:v>
                </c:pt>
                <c:pt idx="1174">
                  <c:v>0.22314000000000001</c:v>
                </c:pt>
                <c:pt idx="1175">
                  <c:v>0.22869999999999999</c:v>
                </c:pt>
                <c:pt idx="1176">
                  <c:v>0.22943</c:v>
                </c:pt>
                <c:pt idx="1177">
                  <c:v>0.23197999999999999</c:v>
                </c:pt>
                <c:pt idx="1178">
                  <c:v>0.23956</c:v>
                </c:pt>
                <c:pt idx="1179">
                  <c:v>0.23915</c:v>
                </c:pt>
                <c:pt idx="1180">
                  <c:v>0.2361</c:v>
                </c:pt>
                <c:pt idx="1181">
                  <c:v>0.24203</c:v>
                </c:pt>
                <c:pt idx="1182">
                  <c:v>0.2465</c:v>
                </c:pt>
                <c:pt idx="1183">
                  <c:v>0.24016999999999999</c:v>
                </c:pt>
                <c:pt idx="1184">
                  <c:v>0.24476000000000001</c:v>
                </c:pt>
                <c:pt idx="1185">
                  <c:v>0.24809</c:v>
                </c:pt>
                <c:pt idx="1186">
                  <c:v>0.24806</c:v>
                </c:pt>
                <c:pt idx="1187">
                  <c:v>0.24121000000000001</c:v>
                </c:pt>
                <c:pt idx="1188">
                  <c:v>0.24110999999999999</c:v>
                </c:pt>
                <c:pt idx="1189">
                  <c:v>0.23669999999999999</c:v>
                </c:pt>
                <c:pt idx="1190">
                  <c:v>0.24665999999999999</c:v>
                </c:pt>
                <c:pt idx="1191">
                  <c:v>0.25203999999999999</c:v>
                </c:pt>
                <c:pt idx="1192">
                  <c:v>0.23916000000000001</c:v>
                </c:pt>
                <c:pt idx="1193">
                  <c:v>0.24557000000000001</c:v>
                </c:pt>
                <c:pt idx="1194">
                  <c:v>0.25035000000000002</c:v>
                </c:pt>
                <c:pt idx="1195">
                  <c:v>0.23957999999999999</c:v>
                </c:pt>
                <c:pt idx="1196">
                  <c:v>0.24812999999999999</c:v>
                </c:pt>
                <c:pt idx="1197">
                  <c:v>0.23874000000000001</c:v>
                </c:pt>
                <c:pt idx="1198">
                  <c:v>0.24074000000000001</c:v>
                </c:pt>
                <c:pt idx="1199">
                  <c:v>0.25174999999999997</c:v>
                </c:pt>
                <c:pt idx="1200">
                  <c:v>0.24309</c:v>
                </c:pt>
                <c:pt idx="1201">
                  <c:v>0.24365000000000001</c:v>
                </c:pt>
                <c:pt idx="1202">
                  <c:v>0.24989</c:v>
                </c:pt>
                <c:pt idx="1203">
                  <c:v>0.25285999999999997</c:v>
                </c:pt>
                <c:pt idx="1204">
                  <c:v>0.24953</c:v>
                </c:pt>
                <c:pt idx="1205">
                  <c:v>0.25013999999999997</c:v>
                </c:pt>
                <c:pt idx="1206">
                  <c:v>0.25242999999999999</c:v>
                </c:pt>
                <c:pt idx="1207">
                  <c:v>0.25497999999999998</c:v>
                </c:pt>
                <c:pt idx="1208">
                  <c:v>0.25955</c:v>
                </c:pt>
                <c:pt idx="1209">
                  <c:v>0.25208000000000003</c:v>
                </c:pt>
                <c:pt idx="1210">
                  <c:v>0.26296999999999998</c:v>
                </c:pt>
                <c:pt idx="1211">
                  <c:v>0.26438</c:v>
                </c:pt>
                <c:pt idx="1212">
                  <c:v>0.27215</c:v>
                </c:pt>
                <c:pt idx="1213">
                  <c:v>0.27105000000000001</c:v>
                </c:pt>
                <c:pt idx="1214">
                  <c:v>0.26169999999999999</c:v>
                </c:pt>
                <c:pt idx="1215">
                  <c:v>0.26030999999999999</c:v>
                </c:pt>
                <c:pt idx="1216">
                  <c:v>0.26333000000000001</c:v>
                </c:pt>
                <c:pt idx="1217">
                  <c:v>0.26868999999999998</c:v>
                </c:pt>
                <c:pt idx="1218">
                  <c:v>0.26945000000000002</c:v>
                </c:pt>
                <c:pt idx="1219">
                  <c:v>0.25999</c:v>
                </c:pt>
                <c:pt idx="1220">
                  <c:v>0.26385999999999998</c:v>
                </c:pt>
                <c:pt idx="1221">
                  <c:v>0.27689999999999998</c:v>
                </c:pt>
                <c:pt idx="1222">
                  <c:v>0.2717</c:v>
                </c:pt>
                <c:pt idx="1223">
                  <c:v>0.26851999999999998</c:v>
                </c:pt>
                <c:pt idx="1224">
                  <c:v>0.27867999999999998</c:v>
                </c:pt>
                <c:pt idx="1225">
                  <c:v>0.27675</c:v>
                </c:pt>
                <c:pt idx="1226">
                  <c:v>0.27034999999999998</c:v>
                </c:pt>
                <c:pt idx="1227">
                  <c:v>0.28005000000000002</c:v>
                </c:pt>
                <c:pt idx="1228">
                  <c:v>0.27132000000000001</c:v>
                </c:pt>
                <c:pt idx="1229">
                  <c:v>0.28350999999999998</c:v>
                </c:pt>
                <c:pt idx="1230">
                  <c:v>0.27865000000000001</c:v>
                </c:pt>
                <c:pt idx="1231">
                  <c:v>0.27828000000000003</c:v>
                </c:pt>
                <c:pt idx="1232">
                  <c:v>0.27951999999999999</c:v>
                </c:pt>
                <c:pt idx="1233">
                  <c:v>0.28037000000000001</c:v>
                </c:pt>
                <c:pt idx="1234">
                  <c:v>0.27848000000000001</c:v>
                </c:pt>
                <c:pt idx="1235">
                  <c:v>0.27528000000000002</c:v>
                </c:pt>
                <c:pt idx="1236">
                  <c:v>0.28273999999999999</c:v>
                </c:pt>
                <c:pt idx="1237">
                  <c:v>0.27245000000000003</c:v>
                </c:pt>
                <c:pt idx="1238">
                  <c:v>0.28014</c:v>
                </c:pt>
                <c:pt idx="1239">
                  <c:v>0.28115000000000001</c:v>
                </c:pt>
                <c:pt idx="1240">
                  <c:v>0.28886000000000001</c:v>
                </c:pt>
                <c:pt idx="1241">
                  <c:v>0.28937000000000002</c:v>
                </c:pt>
                <c:pt idx="1242">
                  <c:v>0.29104999999999998</c:v>
                </c:pt>
                <c:pt idx="1243">
                  <c:v>0.28022000000000002</c:v>
                </c:pt>
                <c:pt idx="1244">
                  <c:v>0.29355999999999999</c:v>
                </c:pt>
                <c:pt idx="1245">
                  <c:v>0.29326999999999998</c:v>
                </c:pt>
                <c:pt idx="1246">
                  <c:v>0.29748999999999998</c:v>
                </c:pt>
                <c:pt idx="1247">
                  <c:v>0.28852</c:v>
                </c:pt>
                <c:pt idx="1248">
                  <c:v>0.29799999999999999</c:v>
                </c:pt>
                <c:pt idx="1249">
                  <c:v>0.29354999999999998</c:v>
                </c:pt>
                <c:pt idx="1250">
                  <c:v>0.29577999999999999</c:v>
                </c:pt>
                <c:pt idx="1251">
                  <c:v>0.29365999999999998</c:v>
                </c:pt>
                <c:pt idx="1252">
                  <c:v>0.29611999999999999</c:v>
                </c:pt>
                <c:pt idx="1253">
                  <c:v>0.29293000000000002</c:v>
                </c:pt>
                <c:pt idx="1254">
                  <c:v>0.29408000000000001</c:v>
                </c:pt>
                <c:pt idx="1255">
                  <c:v>0.29837000000000002</c:v>
                </c:pt>
                <c:pt idx="1256">
                  <c:v>0.29380000000000001</c:v>
                </c:pt>
                <c:pt idx="1257">
                  <c:v>0.29537000000000002</c:v>
                </c:pt>
                <c:pt idx="1258">
                  <c:v>0.30420999999999998</c:v>
                </c:pt>
                <c:pt idx="1259">
                  <c:v>0.30248999999999998</c:v>
                </c:pt>
                <c:pt idx="1260">
                  <c:v>0.31072</c:v>
                </c:pt>
                <c:pt idx="1261">
                  <c:v>0.30851000000000001</c:v>
                </c:pt>
                <c:pt idx="1262">
                  <c:v>0.30675000000000002</c:v>
                </c:pt>
                <c:pt idx="1263">
                  <c:v>0.30723</c:v>
                </c:pt>
                <c:pt idx="1264">
                  <c:v>0.30592000000000003</c:v>
                </c:pt>
                <c:pt idx="1265">
                  <c:v>0.31655</c:v>
                </c:pt>
                <c:pt idx="1266">
                  <c:v>0.30792000000000003</c:v>
                </c:pt>
                <c:pt idx="1267">
                  <c:v>0.30430000000000001</c:v>
                </c:pt>
                <c:pt idx="1268">
                  <c:v>0.31424999999999997</c:v>
                </c:pt>
                <c:pt idx="1269">
                  <c:v>0.30697000000000002</c:v>
                </c:pt>
                <c:pt idx="1270">
                  <c:v>0.31517000000000001</c:v>
                </c:pt>
                <c:pt idx="1271">
                  <c:v>0.31452000000000002</c:v>
                </c:pt>
                <c:pt idx="1272">
                  <c:v>0.31043999999999999</c:v>
                </c:pt>
                <c:pt idx="1273">
                  <c:v>0.30863000000000002</c:v>
                </c:pt>
                <c:pt idx="1274">
                  <c:v>0.31219999999999998</c:v>
                </c:pt>
                <c:pt idx="1275">
                  <c:v>0.31203999999999998</c:v>
                </c:pt>
                <c:pt idx="1276">
                  <c:v>0.32133</c:v>
                </c:pt>
                <c:pt idx="1277">
                  <c:v>0.32407999999999998</c:v>
                </c:pt>
                <c:pt idx="1278">
                  <c:v>0.32263999999999998</c:v>
                </c:pt>
                <c:pt idx="1279">
                  <c:v>0.32689000000000001</c:v>
                </c:pt>
                <c:pt idx="1280">
                  <c:v>0.32601000000000002</c:v>
                </c:pt>
                <c:pt idx="1281">
                  <c:v>0.33384999999999998</c:v>
                </c:pt>
                <c:pt idx="1282">
                  <c:v>0.33045000000000002</c:v>
                </c:pt>
                <c:pt idx="1283">
                  <c:v>0.32068999999999998</c:v>
                </c:pt>
                <c:pt idx="1284">
                  <c:v>0.33146999999999999</c:v>
                </c:pt>
                <c:pt idx="1285">
                  <c:v>0.32782</c:v>
                </c:pt>
                <c:pt idx="1286">
                  <c:v>0.32751999999999998</c:v>
                </c:pt>
                <c:pt idx="1287">
                  <c:v>0.33488000000000001</c:v>
                </c:pt>
                <c:pt idx="1288">
                  <c:v>0.32615</c:v>
                </c:pt>
                <c:pt idx="1289">
                  <c:v>0.33063999999999999</c:v>
                </c:pt>
                <c:pt idx="1290">
                  <c:v>0.33381</c:v>
                </c:pt>
                <c:pt idx="1291">
                  <c:v>0.33645000000000003</c:v>
                </c:pt>
                <c:pt idx="1292">
                  <c:v>0.33201999999999998</c:v>
                </c:pt>
                <c:pt idx="1293">
                  <c:v>0.33911999999999998</c:v>
                </c:pt>
                <c:pt idx="1294">
                  <c:v>0.33248</c:v>
                </c:pt>
                <c:pt idx="1295">
                  <c:v>0.32994000000000001</c:v>
                </c:pt>
                <c:pt idx="1296">
                  <c:v>0.34089999999999998</c:v>
                </c:pt>
                <c:pt idx="1297">
                  <c:v>0.33729999999999999</c:v>
                </c:pt>
                <c:pt idx="1298">
                  <c:v>0.34247</c:v>
                </c:pt>
                <c:pt idx="1299">
                  <c:v>0.34636</c:v>
                </c:pt>
                <c:pt idx="1300">
                  <c:v>0.34866000000000003</c:v>
                </c:pt>
                <c:pt idx="1301">
                  <c:v>0.34078000000000003</c:v>
                </c:pt>
                <c:pt idx="1302">
                  <c:v>0.35097</c:v>
                </c:pt>
                <c:pt idx="1303">
                  <c:v>0.34762999999999999</c:v>
                </c:pt>
                <c:pt idx="1304">
                  <c:v>0.34388000000000002</c:v>
                </c:pt>
                <c:pt idx="1305">
                  <c:v>0.34312999999999999</c:v>
                </c:pt>
                <c:pt idx="1306">
                  <c:v>0.34739999999999999</c:v>
                </c:pt>
                <c:pt idx="1307">
                  <c:v>0.34447</c:v>
                </c:pt>
                <c:pt idx="1308">
                  <c:v>0.35200999999999999</c:v>
                </c:pt>
                <c:pt idx="1309">
                  <c:v>0.35300999999999999</c:v>
                </c:pt>
                <c:pt idx="1310">
                  <c:v>0.35870000000000002</c:v>
                </c:pt>
                <c:pt idx="1311">
                  <c:v>0.35169</c:v>
                </c:pt>
                <c:pt idx="1312">
                  <c:v>0.34899999999999998</c:v>
                </c:pt>
                <c:pt idx="1313">
                  <c:v>0.35776999999999998</c:v>
                </c:pt>
                <c:pt idx="1314">
                  <c:v>0.36247000000000001</c:v>
                </c:pt>
                <c:pt idx="1315">
                  <c:v>0.36276000000000003</c:v>
                </c:pt>
                <c:pt idx="1316">
                  <c:v>0.35970000000000002</c:v>
                </c:pt>
                <c:pt idx="1317">
                  <c:v>0.35444999999999999</c:v>
                </c:pt>
                <c:pt idx="1318">
                  <c:v>0.36138999999999999</c:v>
                </c:pt>
                <c:pt idx="1319">
                  <c:v>0.36724000000000001</c:v>
                </c:pt>
                <c:pt idx="1320">
                  <c:v>0.37201000000000001</c:v>
                </c:pt>
                <c:pt idx="1321">
                  <c:v>0.36759999999999998</c:v>
                </c:pt>
                <c:pt idx="1322">
                  <c:v>0.36935000000000001</c:v>
                </c:pt>
                <c:pt idx="1323">
                  <c:v>0.36585000000000001</c:v>
                </c:pt>
                <c:pt idx="1324">
                  <c:v>0.36473</c:v>
                </c:pt>
                <c:pt idx="1325">
                  <c:v>0.36834</c:v>
                </c:pt>
                <c:pt idx="1326">
                  <c:v>0.36581000000000002</c:v>
                </c:pt>
                <c:pt idx="1327">
                  <c:v>0.37507000000000001</c:v>
                </c:pt>
                <c:pt idx="1328">
                  <c:v>0.37469000000000002</c:v>
                </c:pt>
                <c:pt idx="1329">
                  <c:v>0.37611</c:v>
                </c:pt>
                <c:pt idx="1330">
                  <c:v>0.38030000000000003</c:v>
                </c:pt>
                <c:pt idx="1331">
                  <c:v>0.37617</c:v>
                </c:pt>
                <c:pt idx="1332">
                  <c:v>0.37626999999999999</c:v>
                </c:pt>
                <c:pt idx="1333">
                  <c:v>0.38068999999999997</c:v>
                </c:pt>
                <c:pt idx="1334">
                  <c:v>0.38249</c:v>
                </c:pt>
                <c:pt idx="1335">
                  <c:v>0.38657000000000002</c:v>
                </c:pt>
                <c:pt idx="1336">
                  <c:v>0.37590000000000001</c:v>
                </c:pt>
                <c:pt idx="1337">
                  <c:v>0.38046999999999997</c:v>
                </c:pt>
                <c:pt idx="1338">
                  <c:v>0.38612000000000002</c:v>
                </c:pt>
                <c:pt idx="1339">
                  <c:v>0.38386999999999999</c:v>
                </c:pt>
                <c:pt idx="1340">
                  <c:v>0.38821</c:v>
                </c:pt>
                <c:pt idx="1341">
                  <c:v>0.38973999999999998</c:v>
                </c:pt>
                <c:pt idx="1342">
                  <c:v>0.38978000000000002</c:v>
                </c:pt>
                <c:pt idx="1343">
                  <c:v>0.38922000000000001</c:v>
                </c:pt>
                <c:pt idx="1344">
                  <c:v>0.39228000000000002</c:v>
                </c:pt>
                <c:pt idx="1345">
                  <c:v>0.39501999999999998</c:v>
                </c:pt>
                <c:pt idx="1346">
                  <c:v>0.39578000000000002</c:v>
                </c:pt>
                <c:pt idx="1347">
                  <c:v>0.39191999999999999</c:v>
                </c:pt>
                <c:pt idx="1348">
                  <c:v>0.39702999999999999</c:v>
                </c:pt>
                <c:pt idx="1349">
                  <c:v>0.39505000000000001</c:v>
                </c:pt>
                <c:pt idx="1350">
                  <c:v>0.39606000000000002</c:v>
                </c:pt>
                <c:pt idx="1351">
                  <c:v>0.39746999999999999</c:v>
                </c:pt>
                <c:pt idx="1352">
                  <c:v>0.40014</c:v>
                </c:pt>
                <c:pt idx="1353">
                  <c:v>0.39700000000000002</c:v>
                </c:pt>
                <c:pt idx="1354">
                  <c:v>0.40012999999999999</c:v>
                </c:pt>
                <c:pt idx="1355">
                  <c:v>0.40887000000000001</c:v>
                </c:pt>
                <c:pt idx="1356">
                  <c:v>0.40612999999999999</c:v>
                </c:pt>
                <c:pt idx="1357">
                  <c:v>0.40956999999999999</c:v>
                </c:pt>
                <c:pt idx="1358">
                  <c:v>0.40823999999999999</c:v>
                </c:pt>
                <c:pt idx="1359">
                  <c:v>0.40739999999999998</c:v>
                </c:pt>
                <c:pt idx="1360">
                  <c:v>0.40939999999999999</c:v>
                </c:pt>
                <c:pt idx="1361">
                  <c:v>0.41442000000000001</c:v>
                </c:pt>
                <c:pt idx="1362">
                  <c:v>0.41028999999999999</c:v>
                </c:pt>
                <c:pt idx="1363">
                  <c:v>0.41414000000000001</c:v>
                </c:pt>
                <c:pt idx="1364">
                  <c:v>0.41496</c:v>
                </c:pt>
                <c:pt idx="1365">
                  <c:v>0.41110000000000002</c:v>
                </c:pt>
                <c:pt idx="1366">
                  <c:v>0.41441</c:v>
                </c:pt>
                <c:pt idx="1367">
                  <c:v>0.41703000000000001</c:v>
                </c:pt>
                <c:pt idx="1368">
                  <c:v>0.41419</c:v>
                </c:pt>
                <c:pt idx="1369">
                  <c:v>0.41432999999999998</c:v>
                </c:pt>
                <c:pt idx="1370">
                  <c:v>0.42324000000000001</c:v>
                </c:pt>
                <c:pt idx="1371">
                  <c:v>0.41941000000000001</c:v>
                </c:pt>
                <c:pt idx="1372">
                  <c:v>0.42404999999999998</c:v>
                </c:pt>
                <c:pt idx="1373">
                  <c:v>0.41796</c:v>
                </c:pt>
                <c:pt idx="1374">
                  <c:v>0.42170000000000002</c:v>
                </c:pt>
                <c:pt idx="1375">
                  <c:v>0.42823</c:v>
                </c:pt>
                <c:pt idx="1376">
                  <c:v>0.42623</c:v>
                </c:pt>
                <c:pt idx="1377">
                  <c:v>0.42706</c:v>
                </c:pt>
                <c:pt idx="1378">
                  <c:v>0.42446</c:v>
                </c:pt>
                <c:pt idx="1379">
                  <c:v>0.43395</c:v>
                </c:pt>
                <c:pt idx="1380">
                  <c:v>0.42951</c:v>
                </c:pt>
                <c:pt idx="1381">
                  <c:v>0.43386000000000002</c:v>
                </c:pt>
                <c:pt idx="1382">
                  <c:v>0.43229000000000001</c:v>
                </c:pt>
                <c:pt idx="1383">
                  <c:v>0.43302000000000002</c:v>
                </c:pt>
                <c:pt idx="1384">
                  <c:v>0.43387999999999999</c:v>
                </c:pt>
                <c:pt idx="1385">
                  <c:v>0.43609999999999999</c:v>
                </c:pt>
                <c:pt idx="1386">
                  <c:v>0.43801000000000001</c:v>
                </c:pt>
                <c:pt idx="1387">
                  <c:v>0.43785000000000002</c:v>
                </c:pt>
                <c:pt idx="1388">
                  <c:v>0.43953999999999999</c:v>
                </c:pt>
                <c:pt idx="1389">
                  <c:v>0.44066</c:v>
                </c:pt>
                <c:pt idx="1390">
                  <c:v>0.44136999999999998</c:v>
                </c:pt>
                <c:pt idx="1391">
                  <c:v>0.44619999999999999</c:v>
                </c:pt>
                <c:pt idx="1392">
                  <c:v>0.44495000000000001</c:v>
                </c:pt>
                <c:pt idx="1393">
                  <c:v>0.44721</c:v>
                </c:pt>
                <c:pt idx="1394">
                  <c:v>0.44629000000000002</c:v>
                </c:pt>
                <c:pt idx="1395">
                  <c:v>0.44829999999999998</c:v>
                </c:pt>
                <c:pt idx="1396">
                  <c:v>0.44805</c:v>
                </c:pt>
                <c:pt idx="1397">
                  <c:v>0.4501</c:v>
                </c:pt>
                <c:pt idx="1398">
                  <c:v>0.44918999999999998</c:v>
                </c:pt>
                <c:pt idx="1399">
                  <c:v>0.45265</c:v>
                </c:pt>
                <c:pt idx="1400">
                  <c:v>0.45429000000000003</c:v>
                </c:pt>
                <c:pt idx="1401">
                  <c:v>0.45790999999999998</c:v>
                </c:pt>
                <c:pt idx="1402">
                  <c:v>0.45881</c:v>
                </c:pt>
                <c:pt idx="1403">
                  <c:v>0.45615</c:v>
                </c:pt>
                <c:pt idx="1404">
                  <c:v>0.45940999999999999</c:v>
                </c:pt>
                <c:pt idx="1405">
                  <c:v>0.46009</c:v>
                </c:pt>
                <c:pt idx="1406">
                  <c:v>0.45994000000000002</c:v>
                </c:pt>
                <c:pt idx="1407">
                  <c:v>0.45924999999999999</c:v>
                </c:pt>
                <c:pt idx="1408">
                  <c:v>0.46200000000000002</c:v>
                </c:pt>
                <c:pt idx="1409">
                  <c:v>0.46238000000000001</c:v>
                </c:pt>
                <c:pt idx="1410">
                  <c:v>0.46234999999999998</c:v>
                </c:pt>
                <c:pt idx="1411">
                  <c:v>0.46599000000000002</c:v>
                </c:pt>
                <c:pt idx="1412">
                  <c:v>0.46788999999999997</c:v>
                </c:pt>
                <c:pt idx="1413">
                  <c:v>0.46531</c:v>
                </c:pt>
                <c:pt idx="1414">
                  <c:v>0.47169</c:v>
                </c:pt>
                <c:pt idx="1415">
                  <c:v>0.46994999999999998</c:v>
                </c:pt>
                <c:pt idx="1416">
                  <c:v>0.47289999999999999</c:v>
                </c:pt>
                <c:pt idx="1417">
                  <c:v>0.47603000000000001</c:v>
                </c:pt>
                <c:pt idx="1418">
                  <c:v>0.47247</c:v>
                </c:pt>
                <c:pt idx="1419">
                  <c:v>0.47341</c:v>
                </c:pt>
                <c:pt idx="1420">
                  <c:v>0.47653000000000001</c:v>
                </c:pt>
                <c:pt idx="1421">
                  <c:v>0.47786000000000001</c:v>
                </c:pt>
                <c:pt idx="1422">
                  <c:v>0.47604000000000002</c:v>
                </c:pt>
                <c:pt idx="1423">
                  <c:v>0.48149999999999998</c:v>
                </c:pt>
                <c:pt idx="1424">
                  <c:v>0.47915999999999997</c:v>
                </c:pt>
                <c:pt idx="1425">
                  <c:v>0.48114000000000001</c:v>
                </c:pt>
                <c:pt idx="1426">
                  <c:v>0.48096</c:v>
                </c:pt>
                <c:pt idx="1427">
                  <c:v>0.48592999999999997</c:v>
                </c:pt>
                <c:pt idx="1428">
                  <c:v>0.48387000000000002</c:v>
                </c:pt>
                <c:pt idx="1429">
                  <c:v>0.48516999999999999</c:v>
                </c:pt>
                <c:pt idx="1430">
                  <c:v>0.48652000000000001</c:v>
                </c:pt>
                <c:pt idx="1431">
                  <c:v>0.48834</c:v>
                </c:pt>
                <c:pt idx="1432">
                  <c:v>0.48920000000000002</c:v>
                </c:pt>
                <c:pt idx="1433">
                  <c:v>0.48897000000000002</c:v>
                </c:pt>
                <c:pt idx="1434">
                  <c:v>0.48970999999999998</c:v>
                </c:pt>
                <c:pt idx="1435">
                  <c:v>0.48913000000000001</c:v>
                </c:pt>
                <c:pt idx="1436">
                  <c:v>0.49185000000000001</c:v>
                </c:pt>
                <c:pt idx="1437">
                  <c:v>0.49291000000000001</c:v>
                </c:pt>
                <c:pt idx="1438">
                  <c:v>0.49304999999999999</c:v>
                </c:pt>
                <c:pt idx="1439">
                  <c:v>0.49675000000000002</c:v>
                </c:pt>
                <c:pt idx="1440">
                  <c:v>0.49791999999999997</c:v>
                </c:pt>
                <c:pt idx="1441">
                  <c:v>0.49773000000000001</c:v>
                </c:pt>
                <c:pt idx="1442">
                  <c:v>0.49913000000000002</c:v>
                </c:pt>
                <c:pt idx="1443">
                  <c:v>0.49904999999999999</c:v>
                </c:pt>
                <c:pt idx="1444">
                  <c:v>0.49979000000000001</c:v>
                </c:pt>
                <c:pt idx="1445">
                  <c:v>0.50380000000000003</c:v>
                </c:pt>
                <c:pt idx="1446">
                  <c:v>0.50368000000000002</c:v>
                </c:pt>
                <c:pt idx="1447">
                  <c:v>0.50278</c:v>
                </c:pt>
                <c:pt idx="1448">
                  <c:v>0.50709000000000004</c:v>
                </c:pt>
                <c:pt idx="1449">
                  <c:v>0.50639000000000001</c:v>
                </c:pt>
                <c:pt idx="1450">
                  <c:v>0.50629999999999997</c:v>
                </c:pt>
                <c:pt idx="1451">
                  <c:v>0.50782000000000005</c:v>
                </c:pt>
                <c:pt idx="1452">
                  <c:v>0.50951000000000002</c:v>
                </c:pt>
                <c:pt idx="1453">
                  <c:v>0.50870000000000004</c:v>
                </c:pt>
                <c:pt idx="1454">
                  <c:v>0.51085000000000003</c:v>
                </c:pt>
                <c:pt idx="1455">
                  <c:v>0.51365000000000005</c:v>
                </c:pt>
                <c:pt idx="1456">
                  <c:v>0.51539000000000001</c:v>
                </c:pt>
                <c:pt idx="1457">
                  <c:v>0.51519000000000004</c:v>
                </c:pt>
                <c:pt idx="1458">
                  <c:v>0.51478999999999997</c:v>
                </c:pt>
                <c:pt idx="1459">
                  <c:v>0.51536000000000004</c:v>
                </c:pt>
                <c:pt idx="1460">
                  <c:v>0.51826000000000005</c:v>
                </c:pt>
                <c:pt idx="1461">
                  <c:v>0.51814000000000004</c:v>
                </c:pt>
                <c:pt idx="1462">
                  <c:v>0.52125999999999995</c:v>
                </c:pt>
                <c:pt idx="1463">
                  <c:v>0.52127999999999997</c:v>
                </c:pt>
                <c:pt idx="1464">
                  <c:v>0.52070000000000005</c:v>
                </c:pt>
                <c:pt idx="1465">
                  <c:v>0.52393000000000001</c:v>
                </c:pt>
                <c:pt idx="1466">
                  <c:v>0.52419000000000004</c:v>
                </c:pt>
                <c:pt idx="1467">
                  <c:v>0.52575000000000005</c:v>
                </c:pt>
                <c:pt idx="1468">
                  <c:v>0.52547999999999995</c:v>
                </c:pt>
                <c:pt idx="1469">
                  <c:v>0.52764999999999995</c:v>
                </c:pt>
                <c:pt idx="1470">
                  <c:v>0.52912000000000003</c:v>
                </c:pt>
                <c:pt idx="1471">
                  <c:v>0.52786999999999995</c:v>
                </c:pt>
                <c:pt idx="1472">
                  <c:v>0.53030999999999995</c:v>
                </c:pt>
                <c:pt idx="1473">
                  <c:v>0.53181</c:v>
                </c:pt>
                <c:pt idx="1474">
                  <c:v>0.53290000000000004</c:v>
                </c:pt>
                <c:pt idx="1475">
                  <c:v>0.53302000000000005</c:v>
                </c:pt>
                <c:pt idx="1476">
                  <c:v>0.53313999999999995</c:v>
                </c:pt>
                <c:pt idx="1477">
                  <c:v>0.53805000000000003</c:v>
                </c:pt>
                <c:pt idx="1478">
                  <c:v>0.53556000000000004</c:v>
                </c:pt>
                <c:pt idx="1479">
                  <c:v>0.53673000000000004</c:v>
                </c:pt>
                <c:pt idx="1480">
                  <c:v>0.53696999999999995</c:v>
                </c:pt>
                <c:pt idx="1481">
                  <c:v>0.54069999999999996</c:v>
                </c:pt>
                <c:pt idx="1482">
                  <c:v>0.54093999999999998</c:v>
                </c:pt>
                <c:pt idx="1483">
                  <c:v>0.54183999999999999</c:v>
                </c:pt>
                <c:pt idx="1484">
                  <c:v>0.54218999999999995</c:v>
                </c:pt>
                <c:pt idx="1485">
                  <c:v>0.54305999999999999</c:v>
                </c:pt>
                <c:pt idx="1486">
                  <c:v>0.54625000000000001</c:v>
                </c:pt>
                <c:pt idx="1487">
                  <c:v>0.54800000000000004</c:v>
                </c:pt>
                <c:pt idx="1488">
                  <c:v>0.54837000000000002</c:v>
                </c:pt>
                <c:pt idx="1489">
                  <c:v>0.54754999999999998</c:v>
                </c:pt>
                <c:pt idx="1490">
                  <c:v>0.54806999999999995</c:v>
                </c:pt>
                <c:pt idx="1491">
                  <c:v>0.54886999999999997</c:v>
                </c:pt>
                <c:pt idx="1492">
                  <c:v>0.55025000000000002</c:v>
                </c:pt>
                <c:pt idx="1493">
                  <c:v>0.55445999999999995</c:v>
                </c:pt>
                <c:pt idx="1494">
                  <c:v>0.55286999999999997</c:v>
                </c:pt>
                <c:pt idx="1495">
                  <c:v>0.55464999999999998</c:v>
                </c:pt>
                <c:pt idx="1496">
                  <c:v>0.55572999999999995</c:v>
                </c:pt>
                <c:pt idx="1497">
                  <c:v>0.55567</c:v>
                </c:pt>
                <c:pt idx="1498">
                  <c:v>0.55772999999999995</c:v>
                </c:pt>
                <c:pt idx="1499">
                  <c:v>0.55647999999999997</c:v>
                </c:pt>
                <c:pt idx="1500">
                  <c:v>0.55900000000000005</c:v>
                </c:pt>
                <c:pt idx="1501">
                  <c:v>0.56098000000000003</c:v>
                </c:pt>
                <c:pt idx="1502">
                  <c:v>0.56428</c:v>
                </c:pt>
                <c:pt idx="1503">
                  <c:v>0.56772999999999996</c:v>
                </c:pt>
                <c:pt idx="1504">
                  <c:v>0.55998000000000003</c:v>
                </c:pt>
                <c:pt idx="1505">
                  <c:v>0.56211</c:v>
                </c:pt>
                <c:pt idx="1506">
                  <c:v>0.56611999999999996</c:v>
                </c:pt>
                <c:pt idx="1507">
                  <c:v>0.56650999999999996</c:v>
                </c:pt>
                <c:pt idx="1508">
                  <c:v>0.56859000000000004</c:v>
                </c:pt>
                <c:pt idx="1509">
                  <c:v>0.57128999999999996</c:v>
                </c:pt>
                <c:pt idx="1510">
                  <c:v>0.56898000000000004</c:v>
                </c:pt>
                <c:pt idx="1511">
                  <c:v>0.57064000000000004</c:v>
                </c:pt>
                <c:pt idx="1512">
                  <c:v>0.57360999999999995</c:v>
                </c:pt>
                <c:pt idx="1513">
                  <c:v>0.57235999999999998</c:v>
                </c:pt>
                <c:pt idx="1514">
                  <c:v>0.57284000000000002</c:v>
                </c:pt>
                <c:pt idx="1515">
                  <c:v>0.57333000000000001</c:v>
                </c:pt>
                <c:pt idx="1516">
                  <c:v>0.57464999999999999</c:v>
                </c:pt>
                <c:pt idx="1517">
                  <c:v>0.57599999999999996</c:v>
                </c:pt>
                <c:pt idx="1518">
                  <c:v>0.58204</c:v>
                </c:pt>
                <c:pt idx="1519">
                  <c:v>0.57862999999999998</c:v>
                </c:pt>
                <c:pt idx="1520">
                  <c:v>0.57981000000000005</c:v>
                </c:pt>
                <c:pt idx="1521">
                  <c:v>0.58603000000000005</c:v>
                </c:pt>
                <c:pt idx="1522">
                  <c:v>0.57984000000000002</c:v>
                </c:pt>
                <c:pt idx="1523">
                  <c:v>0.58228999999999997</c:v>
                </c:pt>
                <c:pt idx="1524">
                  <c:v>0.58252000000000004</c:v>
                </c:pt>
                <c:pt idx="1525">
                  <c:v>0.58499000000000001</c:v>
                </c:pt>
                <c:pt idx="1526">
                  <c:v>0.59009</c:v>
                </c:pt>
                <c:pt idx="1527">
                  <c:v>0.58926000000000001</c:v>
                </c:pt>
                <c:pt idx="1528">
                  <c:v>0.58747000000000005</c:v>
                </c:pt>
                <c:pt idx="1529">
                  <c:v>0.59048999999999996</c:v>
                </c:pt>
                <c:pt idx="1530">
                  <c:v>0.59448000000000001</c:v>
                </c:pt>
                <c:pt idx="1531">
                  <c:v>0.59399000000000002</c:v>
                </c:pt>
                <c:pt idx="1532">
                  <c:v>0.59372000000000003</c:v>
                </c:pt>
                <c:pt idx="1533">
                  <c:v>0.59672000000000003</c:v>
                </c:pt>
                <c:pt idx="1534">
                  <c:v>0.59813000000000005</c:v>
                </c:pt>
                <c:pt idx="1535">
                  <c:v>0.59691000000000005</c:v>
                </c:pt>
                <c:pt idx="1536">
                  <c:v>0.59899000000000002</c:v>
                </c:pt>
                <c:pt idx="1537">
                  <c:v>0.59813000000000005</c:v>
                </c:pt>
                <c:pt idx="1538">
                  <c:v>0.59933999999999998</c:v>
                </c:pt>
                <c:pt idx="1539">
                  <c:v>0.60114000000000001</c:v>
                </c:pt>
                <c:pt idx="1540">
                  <c:v>0.60299000000000003</c:v>
                </c:pt>
                <c:pt idx="1541">
                  <c:v>0.60673999999999995</c:v>
                </c:pt>
                <c:pt idx="1542">
                  <c:v>0.60646</c:v>
                </c:pt>
                <c:pt idx="1543">
                  <c:v>0.60306000000000004</c:v>
                </c:pt>
                <c:pt idx="1544">
                  <c:v>0.60409000000000002</c:v>
                </c:pt>
                <c:pt idx="1545">
                  <c:v>0.60526000000000002</c:v>
                </c:pt>
                <c:pt idx="1546">
                  <c:v>0.61123000000000005</c:v>
                </c:pt>
                <c:pt idx="1547">
                  <c:v>0.61355999999999999</c:v>
                </c:pt>
                <c:pt idx="1548">
                  <c:v>0.61046</c:v>
                </c:pt>
                <c:pt idx="1549">
                  <c:v>0.60807</c:v>
                </c:pt>
                <c:pt idx="1550">
                  <c:v>0.61253000000000002</c:v>
                </c:pt>
                <c:pt idx="1551">
                  <c:v>0.61394000000000004</c:v>
                </c:pt>
                <c:pt idx="1552">
                  <c:v>0.61065000000000003</c:v>
                </c:pt>
                <c:pt idx="1553">
                  <c:v>0.62111000000000005</c:v>
                </c:pt>
                <c:pt idx="1554">
                  <c:v>0.61836999999999998</c:v>
                </c:pt>
                <c:pt idx="1555">
                  <c:v>0.61575000000000002</c:v>
                </c:pt>
                <c:pt idx="1556">
                  <c:v>0.61975999999999998</c:v>
                </c:pt>
                <c:pt idx="1557">
                  <c:v>0.62119000000000002</c:v>
                </c:pt>
                <c:pt idx="1558">
                  <c:v>0.62317</c:v>
                </c:pt>
                <c:pt idx="1559">
                  <c:v>0.62007999999999996</c:v>
                </c:pt>
                <c:pt idx="1560">
                  <c:v>0.62327999999999995</c:v>
                </c:pt>
                <c:pt idx="1561">
                  <c:v>0.62802000000000002</c:v>
                </c:pt>
                <c:pt idx="1562">
                  <c:v>0.62178999999999995</c:v>
                </c:pt>
                <c:pt idx="1563">
                  <c:v>0.62485999999999997</c:v>
                </c:pt>
                <c:pt idx="1564">
                  <c:v>0.62509000000000003</c:v>
                </c:pt>
                <c:pt idx="1565">
                  <c:v>0.62814000000000003</c:v>
                </c:pt>
                <c:pt idx="1566">
                  <c:v>0.63146000000000002</c:v>
                </c:pt>
                <c:pt idx="1567">
                  <c:v>0.63348000000000004</c:v>
                </c:pt>
                <c:pt idx="1568">
                  <c:v>0.63360000000000005</c:v>
                </c:pt>
                <c:pt idx="1569">
                  <c:v>0.6351</c:v>
                </c:pt>
                <c:pt idx="1570">
                  <c:v>0.63702999999999999</c:v>
                </c:pt>
                <c:pt idx="1571">
                  <c:v>0.63055000000000005</c:v>
                </c:pt>
                <c:pt idx="1572">
                  <c:v>0.64278999999999997</c:v>
                </c:pt>
                <c:pt idx="1573">
                  <c:v>0.63412000000000002</c:v>
                </c:pt>
                <c:pt idx="1574">
                  <c:v>0.64126000000000005</c:v>
                </c:pt>
                <c:pt idx="1575">
                  <c:v>0.64071999999999996</c:v>
                </c:pt>
                <c:pt idx="1576">
                  <c:v>0.63836000000000004</c:v>
                </c:pt>
                <c:pt idx="1577">
                  <c:v>0.64354999999999996</c:v>
                </c:pt>
                <c:pt idx="1578">
                  <c:v>0.64273000000000002</c:v>
                </c:pt>
                <c:pt idx="1579">
                  <c:v>0.64742999999999995</c:v>
                </c:pt>
                <c:pt idx="1580">
                  <c:v>0.64444999999999997</c:v>
                </c:pt>
                <c:pt idx="1581">
                  <c:v>0.64300999999999997</c:v>
                </c:pt>
                <c:pt idx="1582">
                  <c:v>0.64947999999999995</c:v>
                </c:pt>
                <c:pt idx="1583">
                  <c:v>0.64624999999999999</c:v>
                </c:pt>
                <c:pt idx="1584">
                  <c:v>0.64554999999999996</c:v>
                </c:pt>
                <c:pt idx="1585">
                  <c:v>0.65000999999999998</c:v>
                </c:pt>
                <c:pt idx="1586">
                  <c:v>0.65910000000000002</c:v>
                </c:pt>
                <c:pt idx="1587">
                  <c:v>0.64749999999999996</c:v>
                </c:pt>
                <c:pt idx="1588">
                  <c:v>0.65637999999999996</c:v>
                </c:pt>
                <c:pt idx="1589">
                  <c:v>0.65368000000000004</c:v>
                </c:pt>
                <c:pt idx="1590">
                  <c:v>0.65276999999999996</c:v>
                </c:pt>
                <c:pt idx="1591">
                  <c:v>0.65515000000000001</c:v>
                </c:pt>
                <c:pt idx="1592">
                  <c:v>0.66115000000000002</c:v>
                </c:pt>
                <c:pt idx="1593">
                  <c:v>0.66022999999999998</c:v>
                </c:pt>
                <c:pt idx="1594">
                  <c:v>0.65688999999999997</c:v>
                </c:pt>
                <c:pt idx="1595">
                  <c:v>0.65949999999999998</c:v>
                </c:pt>
                <c:pt idx="1596">
                  <c:v>0.66056000000000004</c:v>
                </c:pt>
                <c:pt idx="1597">
                  <c:v>0.65929000000000004</c:v>
                </c:pt>
                <c:pt idx="1598">
                  <c:v>0.66364000000000001</c:v>
                </c:pt>
                <c:pt idx="1599">
                  <c:v>0.65971000000000002</c:v>
                </c:pt>
                <c:pt idx="1600">
                  <c:v>0.66842000000000001</c:v>
                </c:pt>
                <c:pt idx="1601">
                  <c:v>0.66856000000000004</c:v>
                </c:pt>
                <c:pt idx="1602">
                  <c:v>0.67071000000000003</c:v>
                </c:pt>
                <c:pt idx="1603">
                  <c:v>0.66498000000000002</c:v>
                </c:pt>
                <c:pt idx="1604">
                  <c:v>0.67205000000000004</c:v>
                </c:pt>
                <c:pt idx="1605">
                  <c:v>0.67174999999999996</c:v>
                </c:pt>
                <c:pt idx="1606">
                  <c:v>0.67088999999999999</c:v>
                </c:pt>
                <c:pt idx="1607">
                  <c:v>0.67967999999999995</c:v>
                </c:pt>
                <c:pt idx="1608">
                  <c:v>0.68128999999999995</c:v>
                </c:pt>
                <c:pt idx="1609">
                  <c:v>0.67693999999999999</c:v>
                </c:pt>
                <c:pt idx="1610">
                  <c:v>0.67983000000000005</c:v>
                </c:pt>
                <c:pt idx="1611">
                  <c:v>0.6754</c:v>
                </c:pt>
                <c:pt idx="1612">
                  <c:v>0.67630000000000001</c:v>
                </c:pt>
                <c:pt idx="1613">
                  <c:v>0.68393000000000004</c:v>
                </c:pt>
                <c:pt idx="1614">
                  <c:v>0.68030000000000002</c:v>
                </c:pt>
                <c:pt idx="1615">
                  <c:v>0.68569000000000002</c:v>
                </c:pt>
                <c:pt idx="1616">
                  <c:v>0.68189999999999995</c:v>
                </c:pt>
                <c:pt idx="1617">
                  <c:v>0.68447000000000002</c:v>
                </c:pt>
                <c:pt idx="1618">
                  <c:v>0.68240999999999996</c:v>
                </c:pt>
                <c:pt idx="1619">
                  <c:v>0.68079000000000001</c:v>
                </c:pt>
                <c:pt idx="1620">
                  <c:v>0.68630999999999998</c:v>
                </c:pt>
                <c:pt idx="1621">
                  <c:v>0.68896999999999997</c:v>
                </c:pt>
                <c:pt idx="1622">
                  <c:v>0.68835999999999997</c:v>
                </c:pt>
                <c:pt idx="1623">
                  <c:v>0.69184000000000001</c:v>
                </c:pt>
                <c:pt idx="1624">
                  <c:v>0.68496000000000001</c:v>
                </c:pt>
                <c:pt idx="1625">
                  <c:v>0.69579999999999997</c:v>
                </c:pt>
                <c:pt idx="1626">
                  <c:v>0.68269000000000002</c:v>
                </c:pt>
                <c:pt idx="1627">
                  <c:v>0.69660999999999995</c:v>
                </c:pt>
                <c:pt idx="1628">
                  <c:v>0.69869999999999999</c:v>
                </c:pt>
                <c:pt idx="1629">
                  <c:v>0.70504</c:v>
                </c:pt>
                <c:pt idx="1630">
                  <c:v>0.70213000000000003</c:v>
                </c:pt>
                <c:pt idx="1631">
                  <c:v>0.69821</c:v>
                </c:pt>
                <c:pt idx="1632">
                  <c:v>0.70208000000000004</c:v>
                </c:pt>
                <c:pt idx="1633">
                  <c:v>0.69091000000000002</c:v>
                </c:pt>
                <c:pt idx="1634">
                  <c:v>0.69957000000000003</c:v>
                </c:pt>
                <c:pt idx="1635">
                  <c:v>0.71009999999999995</c:v>
                </c:pt>
                <c:pt idx="1636">
                  <c:v>0.70381000000000005</c:v>
                </c:pt>
                <c:pt idx="1637">
                  <c:v>0.70033999999999996</c:v>
                </c:pt>
                <c:pt idx="1638">
                  <c:v>0.69928999999999997</c:v>
                </c:pt>
                <c:pt idx="1639">
                  <c:v>0.70077999999999996</c:v>
                </c:pt>
                <c:pt idx="1640">
                  <c:v>0.70362999999999998</c:v>
                </c:pt>
                <c:pt idx="1641">
                  <c:v>0.70276000000000005</c:v>
                </c:pt>
                <c:pt idx="1642">
                  <c:v>0.70781000000000005</c:v>
                </c:pt>
                <c:pt idx="1643">
                  <c:v>0.71265000000000001</c:v>
                </c:pt>
                <c:pt idx="1644">
                  <c:v>0.70772999999999997</c:v>
                </c:pt>
                <c:pt idx="1645">
                  <c:v>0.71348</c:v>
                </c:pt>
                <c:pt idx="1646">
                  <c:v>0.70921999999999996</c:v>
                </c:pt>
                <c:pt idx="1647">
                  <c:v>0.71904999999999997</c:v>
                </c:pt>
                <c:pt idx="1648">
                  <c:v>0.71987999999999996</c:v>
                </c:pt>
                <c:pt idx="1649">
                  <c:v>0.71375</c:v>
                </c:pt>
                <c:pt idx="1650">
                  <c:v>0.71135000000000004</c:v>
                </c:pt>
                <c:pt idx="1651">
                  <c:v>0.71606999999999998</c:v>
                </c:pt>
                <c:pt idx="1652">
                  <c:v>0.71470999999999996</c:v>
                </c:pt>
                <c:pt idx="1653">
                  <c:v>0.72072999999999998</c:v>
                </c:pt>
                <c:pt idx="1654">
                  <c:v>0.72804000000000002</c:v>
                </c:pt>
                <c:pt idx="1655">
                  <c:v>0.72204000000000002</c:v>
                </c:pt>
                <c:pt idx="1656">
                  <c:v>0.71425000000000005</c:v>
                </c:pt>
                <c:pt idx="1657">
                  <c:v>0.72079000000000004</c:v>
                </c:pt>
                <c:pt idx="1658">
                  <c:v>0.72806999999999999</c:v>
                </c:pt>
                <c:pt idx="1659">
                  <c:v>0.72872999999999999</c:v>
                </c:pt>
                <c:pt idx="1660">
                  <c:v>0.72257000000000005</c:v>
                </c:pt>
                <c:pt idx="1661">
                  <c:v>0.72496000000000005</c:v>
                </c:pt>
                <c:pt idx="1662">
                  <c:v>0.72753000000000001</c:v>
                </c:pt>
                <c:pt idx="1663">
                  <c:v>0.72802999999999995</c:v>
                </c:pt>
                <c:pt idx="1664">
                  <c:v>0.72924</c:v>
                </c:pt>
                <c:pt idx="1665">
                  <c:v>0.72363</c:v>
                </c:pt>
                <c:pt idx="1666">
                  <c:v>0.73338999999999999</c:v>
                </c:pt>
                <c:pt idx="1667">
                  <c:v>0.73584000000000005</c:v>
                </c:pt>
                <c:pt idx="1668">
                  <c:v>0.73585999999999996</c:v>
                </c:pt>
                <c:pt idx="1669">
                  <c:v>0.73292999999999997</c:v>
                </c:pt>
                <c:pt idx="1670">
                  <c:v>0.73443000000000003</c:v>
                </c:pt>
                <c:pt idx="1671">
                  <c:v>0.74056999999999995</c:v>
                </c:pt>
                <c:pt idx="1672">
                  <c:v>0.74273999999999996</c:v>
                </c:pt>
                <c:pt idx="1673">
                  <c:v>0.74246999999999996</c:v>
                </c:pt>
                <c:pt idx="1674">
                  <c:v>0.73699000000000003</c:v>
                </c:pt>
                <c:pt idx="1675">
                  <c:v>0.73884000000000005</c:v>
                </c:pt>
                <c:pt idx="1676">
                  <c:v>0.73192000000000002</c:v>
                </c:pt>
                <c:pt idx="1677">
                  <c:v>0.74350000000000005</c:v>
                </c:pt>
                <c:pt idx="1678">
                  <c:v>0.73902000000000001</c:v>
                </c:pt>
                <c:pt idx="1679">
                  <c:v>0.74236999999999997</c:v>
                </c:pt>
                <c:pt idx="1680">
                  <c:v>0.74212</c:v>
                </c:pt>
                <c:pt idx="1681">
                  <c:v>0.749</c:v>
                </c:pt>
                <c:pt idx="1682">
                  <c:v>0.74675999999999998</c:v>
                </c:pt>
                <c:pt idx="1683">
                  <c:v>0.74717999999999996</c:v>
                </c:pt>
                <c:pt idx="1684">
                  <c:v>0.75073000000000001</c:v>
                </c:pt>
                <c:pt idx="1685">
                  <c:v>0.74873000000000001</c:v>
                </c:pt>
                <c:pt idx="1686">
                  <c:v>0.74224000000000001</c:v>
                </c:pt>
                <c:pt idx="1687">
                  <c:v>0.75593999999999995</c:v>
                </c:pt>
                <c:pt idx="1688">
                  <c:v>0.74041000000000001</c:v>
                </c:pt>
                <c:pt idx="1689">
                  <c:v>0.74551000000000001</c:v>
                </c:pt>
                <c:pt idx="1690">
                  <c:v>0.75034999999999996</c:v>
                </c:pt>
                <c:pt idx="1691">
                  <c:v>0.75407000000000002</c:v>
                </c:pt>
                <c:pt idx="1692">
                  <c:v>0.75671999999999995</c:v>
                </c:pt>
                <c:pt idx="1693">
                  <c:v>0.74839</c:v>
                </c:pt>
                <c:pt idx="1694">
                  <c:v>0.74582000000000004</c:v>
                </c:pt>
                <c:pt idx="1695">
                  <c:v>0.74775999999999998</c:v>
                </c:pt>
                <c:pt idx="1696">
                  <c:v>0.76178999999999997</c:v>
                </c:pt>
                <c:pt idx="1697">
                  <c:v>0.75887000000000004</c:v>
                </c:pt>
                <c:pt idx="1698">
                  <c:v>0.76127999999999996</c:v>
                </c:pt>
                <c:pt idx="1699">
                  <c:v>0.76434000000000002</c:v>
                </c:pt>
                <c:pt idx="1700">
                  <c:v>0.75702000000000003</c:v>
                </c:pt>
                <c:pt idx="1701">
                  <c:v>0.75988999999999995</c:v>
                </c:pt>
                <c:pt idx="1702">
                  <c:v>0.75843000000000005</c:v>
                </c:pt>
                <c:pt idx="1703">
                  <c:v>0.76341999999999999</c:v>
                </c:pt>
                <c:pt idx="1704">
                  <c:v>0.75522</c:v>
                </c:pt>
                <c:pt idx="1705">
                  <c:v>0.76043000000000005</c:v>
                </c:pt>
                <c:pt idx="1706">
                  <c:v>0.76388</c:v>
                </c:pt>
                <c:pt idx="1707">
                  <c:v>0.76010999999999995</c:v>
                </c:pt>
                <c:pt idx="1708">
                  <c:v>0.76851000000000003</c:v>
                </c:pt>
                <c:pt idx="1709">
                  <c:v>0.75807000000000002</c:v>
                </c:pt>
                <c:pt idx="1710">
                  <c:v>0.76551000000000002</c:v>
                </c:pt>
                <c:pt idx="1711">
                  <c:v>0.76617999999999997</c:v>
                </c:pt>
                <c:pt idx="1712">
                  <c:v>0.76378000000000001</c:v>
                </c:pt>
                <c:pt idx="1713">
                  <c:v>0.76253000000000004</c:v>
                </c:pt>
                <c:pt idx="1714">
                  <c:v>0.77176</c:v>
                </c:pt>
                <c:pt idx="1715">
                  <c:v>0.76844000000000001</c:v>
                </c:pt>
                <c:pt idx="1716">
                  <c:v>0.76463000000000003</c:v>
                </c:pt>
                <c:pt idx="1717">
                  <c:v>0.78332999999999997</c:v>
                </c:pt>
                <c:pt idx="1718">
                  <c:v>0.78076999999999996</c:v>
                </c:pt>
                <c:pt idx="1719">
                  <c:v>0.77137</c:v>
                </c:pt>
                <c:pt idx="1720">
                  <c:v>0.77022999999999997</c:v>
                </c:pt>
                <c:pt idx="1721">
                  <c:v>0.76878999999999997</c:v>
                </c:pt>
                <c:pt idx="1722">
                  <c:v>0.76256999999999997</c:v>
                </c:pt>
                <c:pt idx="1723">
                  <c:v>0.77642</c:v>
                </c:pt>
                <c:pt idx="1724">
                  <c:v>0.77090000000000003</c:v>
                </c:pt>
                <c:pt idx="1725">
                  <c:v>0.77725999999999995</c:v>
                </c:pt>
                <c:pt idx="1726">
                  <c:v>0.77941000000000005</c:v>
                </c:pt>
                <c:pt idx="1727">
                  <c:v>0.77595000000000003</c:v>
                </c:pt>
                <c:pt idx="1728">
                  <c:v>0.77646000000000004</c:v>
                </c:pt>
                <c:pt idx="1729">
                  <c:v>0.79493999999999998</c:v>
                </c:pt>
                <c:pt idx="1730">
                  <c:v>0.78064999999999996</c:v>
                </c:pt>
                <c:pt idx="1731">
                  <c:v>0.78466000000000002</c:v>
                </c:pt>
                <c:pt idx="1732">
                  <c:v>0.78041000000000005</c:v>
                </c:pt>
                <c:pt idx="1733">
                  <c:v>0.77642999999999995</c:v>
                </c:pt>
                <c:pt idx="1734">
                  <c:v>0.77481999999999995</c:v>
                </c:pt>
                <c:pt idx="1735">
                  <c:v>0.78861000000000003</c:v>
                </c:pt>
                <c:pt idx="1736">
                  <c:v>0.78064999999999996</c:v>
                </c:pt>
                <c:pt idx="1737">
                  <c:v>0.78803999999999996</c:v>
                </c:pt>
                <c:pt idx="1738">
                  <c:v>0.78385000000000005</c:v>
                </c:pt>
                <c:pt idx="1739">
                  <c:v>0.78946000000000005</c:v>
                </c:pt>
                <c:pt idx="1740">
                  <c:v>0.79205999999999999</c:v>
                </c:pt>
                <c:pt idx="1741">
                  <c:v>0.78661999999999999</c:v>
                </c:pt>
                <c:pt idx="1742">
                  <c:v>0.79210999999999998</c:v>
                </c:pt>
                <c:pt idx="1743">
                  <c:v>0.79254000000000002</c:v>
                </c:pt>
                <c:pt idx="1744">
                  <c:v>0.79266999999999999</c:v>
                </c:pt>
                <c:pt idx="1745">
                  <c:v>0.80081000000000002</c:v>
                </c:pt>
                <c:pt idx="1746">
                  <c:v>0.78647999999999996</c:v>
                </c:pt>
                <c:pt idx="1747">
                  <c:v>0.79786000000000001</c:v>
                </c:pt>
                <c:pt idx="1748">
                  <c:v>0.79544999999999999</c:v>
                </c:pt>
                <c:pt idx="1749">
                  <c:v>0.79622999999999999</c:v>
                </c:pt>
                <c:pt idx="1750">
                  <c:v>0.80010999999999999</c:v>
                </c:pt>
                <c:pt idx="1751">
                  <c:v>0.79832999999999998</c:v>
                </c:pt>
                <c:pt idx="1752">
                  <c:v>0.79815999999999998</c:v>
                </c:pt>
                <c:pt idx="1753">
                  <c:v>0.79164000000000001</c:v>
                </c:pt>
                <c:pt idx="1754">
                  <c:v>0.79332000000000003</c:v>
                </c:pt>
                <c:pt idx="1755">
                  <c:v>0.80510000000000004</c:v>
                </c:pt>
                <c:pt idx="1756">
                  <c:v>0.80037000000000003</c:v>
                </c:pt>
                <c:pt idx="1757">
                  <c:v>0.81098999999999999</c:v>
                </c:pt>
                <c:pt idx="1758">
                  <c:v>0.79954999999999998</c:v>
                </c:pt>
                <c:pt idx="1759">
                  <c:v>0.79905999999999999</c:v>
                </c:pt>
                <c:pt idx="1760">
                  <c:v>0.80091999999999997</c:v>
                </c:pt>
                <c:pt idx="1761">
                  <c:v>0.80630999999999997</c:v>
                </c:pt>
                <c:pt idx="1762">
                  <c:v>0.80584999999999996</c:v>
                </c:pt>
                <c:pt idx="1763">
                  <c:v>0.79195000000000004</c:v>
                </c:pt>
                <c:pt idx="1764">
                  <c:v>0.80242999999999998</c:v>
                </c:pt>
                <c:pt idx="1765">
                  <c:v>0.78996999999999995</c:v>
                </c:pt>
                <c:pt idx="1766">
                  <c:v>0.81113000000000002</c:v>
                </c:pt>
                <c:pt idx="1767">
                  <c:v>0.79893999999999998</c:v>
                </c:pt>
                <c:pt idx="1768">
                  <c:v>0.80576999999999999</c:v>
                </c:pt>
                <c:pt idx="1769">
                  <c:v>0.80359000000000003</c:v>
                </c:pt>
                <c:pt idx="1770">
                  <c:v>0.79822000000000004</c:v>
                </c:pt>
                <c:pt idx="1771">
                  <c:v>0.80227999999999999</c:v>
                </c:pt>
                <c:pt idx="1772">
                  <c:v>0.80230999999999997</c:v>
                </c:pt>
                <c:pt idx="1773">
                  <c:v>0.80915000000000004</c:v>
                </c:pt>
                <c:pt idx="1774">
                  <c:v>0.80820000000000003</c:v>
                </c:pt>
                <c:pt idx="1775">
                  <c:v>0.81877</c:v>
                </c:pt>
                <c:pt idx="1776">
                  <c:v>0.81015000000000004</c:v>
                </c:pt>
                <c:pt idx="1777">
                  <c:v>0.80296999999999996</c:v>
                </c:pt>
                <c:pt idx="1778">
                  <c:v>0.80398000000000003</c:v>
                </c:pt>
                <c:pt idx="1779">
                  <c:v>0.82059000000000004</c:v>
                </c:pt>
                <c:pt idx="1780">
                  <c:v>0.80464999999999998</c:v>
                </c:pt>
                <c:pt idx="1781">
                  <c:v>0.82181000000000004</c:v>
                </c:pt>
                <c:pt idx="1782">
                  <c:v>0.81018000000000001</c:v>
                </c:pt>
                <c:pt idx="1783">
                  <c:v>0.81218999999999997</c:v>
                </c:pt>
                <c:pt idx="1784">
                  <c:v>0.83013999999999999</c:v>
                </c:pt>
                <c:pt idx="1785">
                  <c:v>0.78934000000000004</c:v>
                </c:pt>
                <c:pt idx="1786">
                  <c:v>0.81320000000000003</c:v>
                </c:pt>
                <c:pt idx="1787">
                  <c:v>0.81752000000000002</c:v>
                </c:pt>
                <c:pt idx="1788">
                  <c:v>0.82493000000000005</c:v>
                </c:pt>
                <c:pt idx="1789">
                  <c:v>0.81435999999999997</c:v>
                </c:pt>
                <c:pt idx="1790">
                  <c:v>0.82118999999999998</c:v>
                </c:pt>
                <c:pt idx="1791">
                  <c:v>0.81750999999999996</c:v>
                </c:pt>
                <c:pt idx="1792">
                  <c:v>0.82091000000000003</c:v>
                </c:pt>
                <c:pt idx="1793">
                  <c:v>0.81916999999999995</c:v>
                </c:pt>
                <c:pt idx="1794">
                  <c:v>0.82545000000000002</c:v>
                </c:pt>
                <c:pt idx="1795">
                  <c:v>0.81147999999999998</c:v>
                </c:pt>
                <c:pt idx="1796">
                  <c:v>0.83131999999999995</c:v>
                </c:pt>
                <c:pt idx="1797">
                  <c:v>0.82421</c:v>
                </c:pt>
                <c:pt idx="1798">
                  <c:v>0.82194</c:v>
                </c:pt>
                <c:pt idx="1799">
                  <c:v>0.81537000000000004</c:v>
                </c:pt>
                <c:pt idx="1800">
                  <c:v>0.80720000000000003</c:v>
                </c:pt>
                <c:pt idx="1801">
                  <c:v>0.83067000000000002</c:v>
                </c:pt>
                <c:pt idx="1802">
                  <c:v>0.82552999999999999</c:v>
                </c:pt>
                <c:pt idx="1803">
                  <c:v>0.82813000000000003</c:v>
                </c:pt>
                <c:pt idx="1804">
                  <c:v>0.82965</c:v>
                </c:pt>
                <c:pt idx="1805">
                  <c:v>0.82286000000000004</c:v>
                </c:pt>
                <c:pt idx="1806">
                  <c:v>0.82962000000000002</c:v>
                </c:pt>
                <c:pt idx="1807">
                  <c:v>0.83028999999999997</c:v>
                </c:pt>
                <c:pt idx="1808">
                  <c:v>0.82742000000000004</c:v>
                </c:pt>
                <c:pt idx="1809">
                  <c:v>0.84109999999999996</c:v>
                </c:pt>
                <c:pt idx="1810">
                  <c:v>0.83328000000000002</c:v>
                </c:pt>
                <c:pt idx="1811">
                  <c:v>0.83026999999999995</c:v>
                </c:pt>
                <c:pt idx="1812">
                  <c:v>0.82289000000000001</c:v>
                </c:pt>
                <c:pt idx="1813">
                  <c:v>0.82969000000000004</c:v>
                </c:pt>
                <c:pt idx="1814">
                  <c:v>0.85074000000000005</c:v>
                </c:pt>
                <c:pt idx="1815">
                  <c:v>0.84477000000000002</c:v>
                </c:pt>
                <c:pt idx="1816">
                  <c:v>0.83243999999999996</c:v>
                </c:pt>
                <c:pt idx="1817">
                  <c:v>0.82730000000000004</c:v>
                </c:pt>
                <c:pt idx="1818">
                  <c:v>0.84136</c:v>
                </c:pt>
                <c:pt idx="1819">
                  <c:v>0.83828999999999998</c:v>
                </c:pt>
                <c:pt idx="1820">
                  <c:v>0.83699000000000001</c:v>
                </c:pt>
                <c:pt idx="1821">
                  <c:v>0.82169000000000003</c:v>
                </c:pt>
                <c:pt idx="1822">
                  <c:v>0.83494000000000002</c:v>
                </c:pt>
                <c:pt idx="1823">
                  <c:v>0.84245000000000003</c:v>
                </c:pt>
                <c:pt idx="1824">
                  <c:v>0.83450000000000002</c:v>
                </c:pt>
                <c:pt idx="1825">
                  <c:v>0.83133000000000001</c:v>
                </c:pt>
                <c:pt idx="1826">
                  <c:v>0.83740000000000003</c:v>
                </c:pt>
                <c:pt idx="1827">
                  <c:v>0.82782</c:v>
                </c:pt>
                <c:pt idx="1828">
                  <c:v>0.83243999999999996</c:v>
                </c:pt>
                <c:pt idx="1829">
                  <c:v>0.84062000000000003</c:v>
                </c:pt>
                <c:pt idx="1830">
                  <c:v>0.84031999999999996</c:v>
                </c:pt>
                <c:pt idx="1831">
                  <c:v>0.84453999999999996</c:v>
                </c:pt>
                <c:pt idx="1832">
                  <c:v>0.83108000000000004</c:v>
                </c:pt>
                <c:pt idx="1833">
                  <c:v>0.85801000000000005</c:v>
                </c:pt>
                <c:pt idx="1834">
                  <c:v>0.83301000000000003</c:v>
                </c:pt>
                <c:pt idx="1835">
                  <c:v>0.84053999999999995</c:v>
                </c:pt>
                <c:pt idx="1836">
                  <c:v>0.84540999999999999</c:v>
                </c:pt>
                <c:pt idx="1837">
                  <c:v>0.84596000000000005</c:v>
                </c:pt>
                <c:pt idx="1838">
                  <c:v>0.85690999999999995</c:v>
                </c:pt>
                <c:pt idx="1839">
                  <c:v>0.85497999999999996</c:v>
                </c:pt>
                <c:pt idx="1840">
                  <c:v>0.83455000000000001</c:v>
                </c:pt>
                <c:pt idx="1841">
                  <c:v>0.84516000000000002</c:v>
                </c:pt>
                <c:pt idx="1842">
                  <c:v>0.84058999999999995</c:v>
                </c:pt>
                <c:pt idx="1843">
                  <c:v>0.84658</c:v>
                </c:pt>
                <c:pt idx="1844">
                  <c:v>0.84062999999999999</c:v>
                </c:pt>
                <c:pt idx="1845">
                  <c:v>0.85219999999999996</c:v>
                </c:pt>
                <c:pt idx="1846">
                  <c:v>0.84531999999999996</c:v>
                </c:pt>
                <c:pt idx="1847">
                  <c:v>0.85421000000000002</c:v>
                </c:pt>
                <c:pt idx="1848">
                  <c:v>0.83858999999999995</c:v>
                </c:pt>
                <c:pt idx="1849">
                  <c:v>0.84406999999999999</c:v>
                </c:pt>
                <c:pt idx="1850">
                  <c:v>0.84508000000000005</c:v>
                </c:pt>
                <c:pt idx="1851">
                  <c:v>0.85616000000000003</c:v>
                </c:pt>
                <c:pt idx="1852">
                  <c:v>0.84609999999999996</c:v>
                </c:pt>
                <c:pt idx="1853">
                  <c:v>0.84989000000000003</c:v>
                </c:pt>
                <c:pt idx="1854">
                  <c:v>0.85799000000000003</c:v>
                </c:pt>
                <c:pt idx="1855">
                  <c:v>0.85655999999999999</c:v>
                </c:pt>
                <c:pt idx="1856">
                  <c:v>0.85651999999999995</c:v>
                </c:pt>
                <c:pt idx="1857">
                  <c:v>0.84662999999999999</c:v>
                </c:pt>
                <c:pt idx="1858">
                  <c:v>0.84721999999999997</c:v>
                </c:pt>
                <c:pt idx="1859">
                  <c:v>0.86253000000000002</c:v>
                </c:pt>
                <c:pt idx="1860">
                  <c:v>0.83521999999999996</c:v>
                </c:pt>
                <c:pt idx="1861">
                  <c:v>0.84968999999999995</c:v>
                </c:pt>
                <c:pt idx="1862">
                  <c:v>0.84967999999999999</c:v>
                </c:pt>
                <c:pt idx="1863">
                  <c:v>0.85877000000000003</c:v>
                </c:pt>
                <c:pt idx="1864">
                  <c:v>0.85175000000000001</c:v>
                </c:pt>
                <c:pt idx="1865">
                  <c:v>0.86985999999999997</c:v>
                </c:pt>
                <c:pt idx="1866">
                  <c:v>0.86229999999999996</c:v>
                </c:pt>
                <c:pt idx="1867">
                  <c:v>0.84501000000000004</c:v>
                </c:pt>
                <c:pt idx="1868">
                  <c:v>0.85872000000000004</c:v>
                </c:pt>
                <c:pt idx="1869">
                  <c:v>0.85592999999999997</c:v>
                </c:pt>
                <c:pt idx="1870">
                  <c:v>0.85306999999999999</c:v>
                </c:pt>
                <c:pt idx="1871">
                  <c:v>0.85184000000000004</c:v>
                </c:pt>
                <c:pt idx="1872">
                  <c:v>0.85499000000000003</c:v>
                </c:pt>
                <c:pt idx="1873">
                  <c:v>0.84533000000000003</c:v>
                </c:pt>
                <c:pt idx="1874">
                  <c:v>0.85009999999999997</c:v>
                </c:pt>
                <c:pt idx="1875">
                  <c:v>0.86722999999999995</c:v>
                </c:pt>
                <c:pt idx="1876">
                  <c:v>0.86431999999999998</c:v>
                </c:pt>
                <c:pt idx="1877">
                  <c:v>0.85533000000000003</c:v>
                </c:pt>
                <c:pt idx="1878">
                  <c:v>0.85880000000000001</c:v>
                </c:pt>
                <c:pt idx="1879">
                  <c:v>0.85436999999999996</c:v>
                </c:pt>
                <c:pt idx="1880">
                  <c:v>0.86077999999999999</c:v>
                </c:pt>
                <c:pt idx="1881">
                  <c:v>0.86009000000000002</c:v>
                </c:pt>
                <c:pt idx="1882">
                  <c:v>0.86133999999999999</c:v>
                </c:pt>
                <c:pt idx="1883">
                  <c:v>0.86502999999999997</c:v>
                </c:pt>
                <c:pt idx="1884">
                  <c:v>0.86406000000000005</c:v>
                </c:pt>
                <c:pt idx="1885">
                  <c:v>0.87299000000000004</c:v>
                </c:pt>
                <c:pt idx="1886">
                  <c:v>0.85680999999999996</c:v>
                </c:pt>
                <c:pt idx="1887">
                  <c:v>0.85448999999999997</c:v>
                </c:pt>
                <c:pt idx="1888">
                  <c:v>0.86102999999999996</c:v>
                </c:pt>
                <c:pt idx="1889">
                  <c:v>0.88582000000000005</c:v>
                </c:pt>
                <c:pt idx="1890">
                  <c:v>0.85155000000000003</c:v>
                </c:pt>
                <c:pt idx="1891">
                  <c:v>0.86863999999999997</c:v>
                </c:pt>
                <c:pt idx="1892">
                  <c:v>0.86555000000000004</c:v>
                </c:pt>
                <c:pt idx="1893">
                  <c:v>0.86943000000000004</c:v>
                </c:pt>
                <c:pt idx="1894">
                  <c:v>0.86041999999999996</c:v>
                </c:pt>
                <c:pt idx="1895">
                  <c:v>0.86882999999999999</c:v>
                </c:pt>
                <c:pt idx="1896">
                  <c:v>0.86204999999999998</c:v>
                </c:pt>
                <c:pt idx="1897">
                  <c:v>0.86521000000000003</c:v>
                </c:pt>
                <c:pt idx="1898">
                  <c:v>0.86965999999999999</c:v>
                </c:pt>
                <c:pt idx="1899">
                  <c:v>0.87128000000000005</c:v>
                </c:pt>
                <c:pt idx="1900">
                  <c:v>0.88629000000000002</c:v>
                </c:pt>
                <c:pt idx="1901">
                  <c:v>0.85535000000000005</c:v>
                </c:pt>
                <c:pt idx="1902">
                  <c:v>0.86636000000000002</c:v>
                </c:pt>
                <c:pt idx="1903">
                  <c:v>0.87902000000000002</c:v>
                </c:pt>
                <c:pt idx="1904">
                  <c:v>0.85085</c:v>
                </c:pt>
                <c:pt idx="1905">
                  <c:v>0.87934000000000001</c:v>
                </c:pt>
                <c:pt idx="1906">
                  <c:v>0.88002999999999998</c:v>
                </c:pt>
                <c:pt idx="1907">
                  <c:v>0.87626999999999999</c:v>
                </c:pt>
                <c:pt idx="1908">
                  <c:v>0.88227999999999995</c:v>
                </c:pt>
                <c:pt idx="1909">
                  <c:v>0.87012999999999996</c:v>
                </c:pt>
                <c:pt idx="1910">
                  <c:v>0.87426000000000004</c:v>
                </c:pt>
                <c:pt idx="1911">
                  <c:v>0.87975999999999999</c:v>
                </c:pt>
                <c:pt idx="1912">
                  <c:v>0.86787999999999998</c:v>
                </c:pt>
                <c:pt idx="1913">
                  <c:v>0.87648999999999999</c:v>
                </c:pt>
                <c:pt idx="1914">
                  <c:v>0.89612000000000003</c:v>
                </c:pt>
                <c:pt idx="1915">
                  <c:v>0.87648999999999999</c:v>
                </c:pt>
                <c:pt idx="1916">
                  <c:v>0.86890999999999996</c:v>
                </c:pt>
                <c:pt idx="1917">
                  <c:v>0.88692000000000004</c:v>
                </c:pt>
                <c:pt idx="1918">
                  <c:v>0.87648000000000004</c:v>
                </c:pt>
                <c:pt idx="1919">
                  <c:v>0.85933999999999999</c:v>
                </c:pt>
                <c:pt idx="1920">
                  <c:v>0.86175000000000002</c:v>
                </c:pt>
                <c:pt idx="1921">
                  <c:v>0.87404000000000004</c:v>
                </c:pt>
                <c:pt idx="1922">
                  <c:v>0.86799000000000004</c:v>
                </c:pt>
                <c:pt idx="1923">
                  <c:v>0.88497000000000003</c:v>
                </c:pt>
                <c:pt idx="1924">
                  <c:v>0.88168000000000002</c:v>
                </c:pt>
                <c:pt idx="1925">
                  <c:v>0.88287000000000004</c:v>
                </c:pt>
                <c:pt idx="1926">
                  <c:v>0.88000999999999996</c:v>
                </c:pt>
                <c:pt idx="1927">
                  <c:v>0.89263000000000003</c:v>
                </c:pt>
                <c:pt idx="1928">
                  <c:v>0.88168999999999997</c:v>
                </c:pt>
                <c:pt idx="1929">
                  <c:v>0.87999000000000005</c:v>
                </c:pt>
                <c:pt idx="1930">
                  <c:v>0.88671999999999995</c:v>
                </c:pt>
                <c:pt idx="1931">
                  <c:v>0.88575000000000004</c:v>
                </c:pt>
                <c:pt idx="1932">
                  <c:v>0.88444</c:v>
                </c:pt>
                <c:pt idx="1933">
                  <c:v>0.88060000000000005</c:v>
                </c:pt>
                <c:pt idx="1934">
                  <c:v>0.88873000000000002</c:v>
                </c:pt>
                <c:pt idx="1935">
                  <c:v>0.89212999999999998</c:v>
                </c:pt>
                <c:pt idx="1936">
                  <c:v>0.87490999999999997</c:v>
                </c:pt>
                <c:pt idx="1937">
                  <c:v>0.87741000000000002</c:v>
                </c:pt>
                <c:pt idx="1938">
                  <c:v>0.87968999999999997</c:v>
                </c:pt>
                <c:pt idx="1939">
                  <c:v>0.88341000000000003</c:v>
                </c:pt>
                <c:pt idx="1940">
                  <c:v>0.88744000000000001</c:v>
                </c:pt>
                <c:pt idx="1941">
                  <c:v>0.89922000000000002</c:v>
                </c:pt>
                <c:pt idx="1942">
                  <c:v>0.88475999999999999</c:v>
                </c:pt>
                <c:pt idx="1943">
                  <c:v>0.88956999999999997</c:v>
                </c:pt>
                <c:pt idx="1944">
                  <c:v>0.89359999999999995</c:v>
                </c:pt>
                <c:pt idx="1945">
                  <c:v>0.87048999999999999</c:v>
                </c:pt>
                <c:pt idx="1946">
                  <c:v>0.87522</c:v>
                </c:pt>
                <c:pt idx="1947">
                  <c:v>0.88731000000000004</c:v>
                </c:pt>
                <c:pt idx="1948">
                  <c:v>0.89632000000000001</c:v>
                </c:pt>
                <c:pt idx="1949">
                  <c:v>0.89227000000000001</c:v>
                </c:pt>
                <c:pt idx="1950">
                  <c:v>0.89758000000000004</c:v>
                </c:pt>
                <c:pt idx="1951">
                  <c:v>0.89332999999999996</c:v>
                </c:pt>
                <c:pt idx="1952">
                  <c:v>0.90008999999999995</c:v>
                </c:pt>
                <c:pt idx="1953">
                  <c:v>0.87624999999999997</c:v>
                </c:pt>
                <c:pt idx="1954">
                  <c:v>0.89381999999999995</c:v>
                </c:pt>
                <c:pt idx="1955">
                  <c:v>0.87122999999999995</c:v>
                </c:pt>
                <c:pt idx="1956">
                  <c:v>0.88778999999999997</c:v>
                </c:pt>
                <c:pt idx="1957">
                  <c:v>0.89178000000000002</c:v>
                </c:pt>
                <c:pt idx="1958">
                  <c:v>0.88756999999999997</c:v>
                </c:pt>
                <c:pt idx="1959">
                  <c:v>0.88380000000000003</c:v>
                </c:pt>
                <c:pt idx="1960">
                  <c:v>0.88939000000000001</c:v>
                </c:pt>
                <c:pt idx="1961">
                  <c:v>0.89944999999999997</c:v>
                </c:pt>
                <c:pt idx="1962">
                  <c:v>0.89159999999999995</c:v>
                </c:pt>
                <c:pt idx="1963">
                  <c:v>0.89151999999999998</c:v>
                </c:pt>
                <c:pt idx="1964">
                  <c:v>0.89953000000000005</c:v>
                </c:pt>
                <c:pt idx="1965">
                  <c:v>0.88880000000000003</c:v>
                </c:pt>
                <c:pt idx="1966">
                  <c:v>0.89029999999999998</c:v>
                </c:pt>
                <c:pt idx="1967">
                  <c:v>0.89551999999999998</c:v>
                </c:pt>
                <c:pt idx="1968">
                  <c:v>0.89573999999999998</c:v>
                </c:pt>
                <c:pt idx="1969">
                  <c:v>0.87975000000000003</c:v>
                </c:pt>
                <c:pt idx="1970">
                  <c:v>0.89453000000000005</c:v>
                </c:pt>
                <c:pt idx="1971">
                  <c:v>0.87873999999999997</c:v>
                </c:pt>
                <c:pt idx="1972">
                  <c:v>0.88717999999999997</c:v>
                </c:pt>
                <c:pt idx="1973">
                  <c:v>0.88424999999999998</c:v>
                </c:pt>
                <c:pt idx="1974">
                  <c:v>0.89761000000000002</c:v>
                </c:pt>
                <c:pt idx="1975">
                  <c:v>0.88468999999999998</c:v>
                </c:pt>
                <c:pt idx="1976">
                  <c:v>0.89790999999999999</c:v>
                </c:pt>
                <c:pt idx="1977">
                  <c:v>0.89414000000000005</c:v>
                </c:pt>
                <c:pt idx="1978">
                  <c:v>0.90722999999999998</c:v>
                </c:pt>
                <c:pt idx="1979">
                  <c:v>0.88978999999999997</c:v>
                </c:pt>
                <c:pt idx="1980">
                  <c:v>0.88871999999999995</c:v>
                </c:pt>
                <c:pt idx="1981">
                  <c:v>0.90512999999999999</c:v>
                </c:pt>
                <c:pt idx="1982">
                  <c:v>0.89534999999999998</c:v>
                </c:pt>
                <c:pt idx="1983">
                  <c:v>0.88973999999999998</c:v>
                </c:pt>
                <c:pt idx="1984">
                  <c:v>0.90471000000000001</c:v>
                </c:pt>
                <c:pt idx="1985">
                  <c:v>0.88771</c:v>
                </c:pt>
                <c:pt idx="1986">
                  <c:v>0.89815999999999996</c:v>
                </c:pt>
                <c:pt idx="1987">
                  <c:v>0.91113</c:v>
                </c:pt>
                <c:pt idx="1988">
                  <c:v>0.91293000000000002</c:v>
                </c:pt>
                <c:pt idx="1989">
                  <c:v>0.90210000000000001</c:v>
                </c:pt>
                <c:pt idx="1990">
                  <c:v>0.90927999999999998</c:v>
                </c:pt>
                <c:pt idx="1991">
                  <c:v>0.92581000000000002</c:v>
                </c:pt>
                <c:pt idx="1992">
                  <c:v>0.89144999999999996</c:v>
                </c:pt>
                <c:pt idx="1993">
                  <c:v>0.90832000000000002</c:v>
                </c:pt>
                <c:pt idx="1994">
                  <c:v>0.88895000000000002</c:v>
                </c:pt>
                <c:pt idx="1995">
                  <c:v>0.92264999999999997</c:v>
                </c:pt>
                <c:pt idx="1996">
                  <c:v>0.90264999999999995</c:v>
                </c:pt>
                <c:pt idx="1997">
                  <c:v>0.90780000000000005</c:v>
                </c:pt>
                <c:pt idx="1998">
                  <c:v>0.89453000000000005</c:v>
                </c:pt>
                <c:pt idx="1999">
                  <c:v>0.89563000000000004</c:v>
                </c:pt>
                <c:pt idx="2000">
                  <c:v>0.90544000000000002</c:v>
                </c:pt>
                <c:pt idx="2001">
                  <c:v>0.90500999999999998</c:v>
                </c:pt>
                <c:pt idx="2002">
                  <c:v>0.90766999999999998</c:v>
                </c:pt>
                <c:pt idx="2003">
                  <c:v>0.90490000000000004</c:v>
                </c:pt>
                <c:pt idx="2004">
                  <c:v>0.91281000000000001</c:v>
                </c:pt>
                <c:pt idx="2005">
                  <c:v>0.89598999999999995</c:v>
                </c:pt>
                <c:pt idx="2006">
                  <c:v>0.91215000000000002</c:v>
                </c:pt>
                <c:pt idx="2007">
                  <c:v>0.90429000000000004</c:v>
                </c:pt>
                <c:pt idx="2008">
                  <c:v>0.90602000000000005</c:v>
                </c:pt>
                <c:pt idx="2009">
                  <c:v>0.92901999999999996</c:v>
                </c:pt>
                <c:pt idx="2010">
                  <c:v>0.90256000000000003</c:v>
                </c:pt>
                <c:pt idx="2011">
                  <c:v>0.88676999999999995</c:v>
                </c:pt>
                <c:pt idx="2012">
                  <c:v>0.89466999999999997</c:v>
                </c:pt>
                <c:pt idx="2013">
                  <c:v>0.88868000000000003</c:v>
                </c:pt>
                <c:pt idx="2014">
                  <c:v>0.91884999999999994</c:v>
                </c:pt>
                <c:pt idx="2015">
                  <c:v>0.90891999999999995</c:v>
                </c:pt>
                <c:pt idx="2016">
                  <c:v>0.90466999999999997</c:v>
                </c:pt>
                <c:pt idx="2017">
                  <c:v>0.90674999999999994</c:v>
                </c:pt>
                <c:pt idx="2018">
                  <c:v>0.90898000000000001</c:v>
                </c:pt>
                <c:pt idx="2019">
                  <c:v>0.89749999999999996</c:v>
                </c:pt>
                <c:pt idx="2020">
                  <c:v>0.91793000000000002</c:v>
                </c:pt>
                <c:pt idx="2021">
                  <c:v>0.90890000000000004</c:v>
                </c:pt>
                <c:pt idx="2022">
                  <c:v>0.89522999999999997</c:v>
                </c:pt>
                <c:pt idx="2023">
                  <c:v>0.91856000000000004</c:v>
                </c:pt>
                <c:pt idx="2024">
                  <c:v>0.91098999999999997</c:v>
                </c:pt>
                <c:pt idx="2025">
                  <c:v>0.90502000000000005</c:v>
                </c:pt>
                <c:pt idx="2026">
                  <c:v>0.91942000000000002</c:v>
                </c:pt>
                <c:pt idx="2027">
                  <c:v>0.90849999999999997</c:v>
                </c:pt>
                <c:pt idx="2028">
                  <c:v>0.90027000000000001</c:v>
                </c:pt>
                <c:pt idx="2029">
                  <c:v>0.91415000000000002</c:v>
                </c:pt>
                <c:pt idx="2030">
                  <c:v>0.90774999999999995</c:v>
                </c:pt>
                <c:pt idx="2031">
                  <c:v>0.91556000000000004</c:v>
                </c:pt>
                <c:pt idx="2032">
                  <c:v>0.92517000000000005</c:v>
                </c:pt>
                <c:pt idx="2033">
                  <c:v>0.90490000000000004</c:v>
                </c:pt>
                <c:pt idx="2034">
                  <c:v>0.92279</c:v>
                </c:pt>
                <c:pt idx="2035">
                  <c:v>0.93142999999999998</c:v>
                </c:pt>
                <c:pt idx="2036">
                  <c:v>0.91108999999999996</c:v>
                </c:pt>
                <c:pt idx="2037">
                  <c:v>0.89768999999999999</c:v>
                </c:pt>
                <c:pt idx="2038">
                  <c:v>0.91303999999999996</c:v>
                </c:pt>
                <c:pt idx="2039">
                  <c:v>0.91946000000000006</c:v>
                </c:pt>
                <c:pt idx="2040">
                  <c:v>0.91157999999999995</c:v>
                </c:pt>
                <c:pt idx="2041">
                  <c:v>0.91752</c:v>
                </c:pt>
                <c:pt idx="2042">
                  <c:v>0.93189</c:v>
                </c:pt>
                <c:pt idx="2043">
                  <c:v>0.90393000000000001</c:v>
                </c:pt>
                <c:pt idx="2044">
                  <c:v>0.91483999999999999</c:v>
                </c:pt>
                <c:pt idx="2045">
                  <c:v>0.92503999999999997</c:v>
                </c:pt>
                <c:pt idx="2046">
                  <c:v>0.90886999999999996</c:v>
                </c:pt>
                <c:pt idx="2047">
                  <c:v>0.92476000000000003</c:v>
                </c:pt>
                <c:pt idx="2048">
                  <c:v>0.89917999999999998</c:v>
                </c:pt>
                <c:pt idx="2049">
                  <c:v>0.92576999999999998</c:v>
                </c:pt>
                <c:pt idx="2050">
                  <c:v>0.91456999999999999</c:v>
                </c:pt>
                <c:pt idx="2051">
                  <c:v>0.92525999999999997</c:v>
                </c:pt>
                <c:pt idx="2052">
                  <c:v>0.91718999999999995</c:v>
                </c:pt>
                <c:pt idx="2053">
                  <c:v>0.91976000000000002</c:v>
                </c:pt>
                <c:pt idx="2054">
                  <c:v>0.92379</c:v>
                </c:pt>
                <c:pt idx="2055">
                  <c:v>0.91666999999999998</c:v>
                </c:pt>
                <c:pt idx="2056">
                  <c:v>0.93459999999999999</c:v>
                </c:pt>
                <c:pt idx="2057">
                  <c:v>0.92122000000000004</c:v>
                </c:pt>
                <c:pt idx="2058">
                  <c:v>0.91962999999999995</c:v>
                </c:pt>
                <c:pt idx="2059">
                  <c:v>0.90508</c:v>
                </c:pt>
                <c:pt idx="2060">
                  <c:v>0.91566000000000003</c:v>
                </c:pt>
                <c:pt idx="2061">
                  <c:v>0.91308</c:v>
                </c:pt>
                <c:pt idx="2062">
                  <c:v>0.91361000000000003</c:v>
                </c:pt>
                <c:pt idx="2063">
                  <c:v>0.89693000000000001</c:v>
                </c:pt>
                <c:pt idx="2064">
                  <c:v>0.93398000000000003</c:v>
                </c:pt>
                <c:pt idx="2065">
                  <c:v>0.92062999999999995</c:v>
                </c:pt>
                <c:pt idx="2066">
                  <c:v>0.90674999999999994</c:v>
                </c:pt>
                <c:pt idx="2067">
                  <c:v>0.92652999999999996</c:v>
                </c:pt>
                <c:pt idx="2068">
                  <c:v>0.93869000000000002</c:v>
                </c:pt>
                <c:pt idx="2069">
                  <c:v>0.90613999999999995</c:v>
                </c:pt>
                <c:pt idx="2070">
                  <c:v>0.91883999999999999</c:v>
                </c:pt>
                <c:pt idx="2071">
                  <c:v>0.92447000000000001</c:v>
                </c:pt>
                <c:pt idx="2072">
                  <c:v>0.92015000000000002</c:v>
                </c:pt>
                <c:pt idx="2073">
                  <c:v>0.93071999999999999</c:v>
                </c:pt>
                <c:pt idx="2074">
                  <c:v>0.92978000000000005</c:v>
                </c:pt>
                <c:pt idx="2075">
                  <c:v>0.92830000000000001</c:v>
                </c:pt>
                <c:pt idx="2076">
                  <c:v>0.89883000000000002</c:v>
                </c:pt>
                <c:pt idx="2077">
                  <c:v>0.90873000000000004</c:v>
                </c:pt>
                <c:pt idx="2078">
                  <c:v>0.89941000000000004</c:v>
                </c:pt>
                <c:pt idx="2079">
                  <c:v>0.92593000000000003</c:v>
                </c:pt>
                <c:pt idx="2080">
                  <c:v>0.93010000000000004</c:v>
                </c:pt>
                <c:pt idx="2081">
                  <c:v>0.91908999999999996</c:v>
                </c:pt>
                <c:pt idx="2082">
                  <c:v>0.91900000000000004</c:v>
                </c:pt>
                <c:pt idx="2083">
                  <c:v>0.92947000000000002</c:v>
                </c:pt>
                <c:pt idx="2084">
                  <c:v>0.93403999999999998</c:v>
                </c:pt>
                <c:pt idx="2085">
                  <c:v>0.91081999999999996</c:v>
                </c:pt>
                <c:pt idx="2086">
                  <c:v>0.91047999999999996</c:v>
                </c:pt>
                <c:pt idx="2087">
                  <c:v>0.93913000000000002</c:v>
                </c:pt>
                <c:pt idx="2088">
                  <c:v>0.94023999999999996</c:v>
                </c:pt>
                <c:pt idx="2089">
                  <c:v>0.91530999999999996</c:v>
                </c:pt>
                <c:pt idx="2090">
                  <c:v>0.89693000000000001</c:v>
                </c:pt>
                <c:pt idx="2091">
                  <c:v>0.90847999999999995</c:v>
                </c:pt>
                <c:pt idx="2092">
                  <c:v>0.92076999999999998</c:v>
                </c:pt>
                <c:pt idx="2093">
                  <c:v>0.89786999999999995</c:v>
                </c:pt>
                <c:pt idx="2094">
                  <c:v>0.92808000000000002</c:v>
                </c:pt>
                <c:pt idx="2095">
                  <c:v>0.91854999999999998</c:v>
                </c:pt>
                <c:pt idx="2096">
                  <c:v>0.90681999999999996</c:v>
                </c:pt>
                <c:pt idx="2097">
                  <c:v>0.94377999999999995</c:v>
                </c:pt>
                <c:pt idx="2098">
                  <c:v>0.91425000000000001</c:v>
                </c:pt>
                <c:pt idx="2099">
                  <c:v>0.91952</c:v>
                </c:pt>
                <c:pt idx="2100">
                  <c:v>0.90371999999999997</c:v>
                </c:pt>
                <c:pt idx="2101">
                  <c:v>0.90795000000000003</c:v>
                </c:pt>
                <c:pt idx="2102">
                  <c:v>0.89390999999999998</c:v>
                </c:pt>
                <c:pt idx="2103">
                  <c:v>0.92551000000000005</c:v>
                </c:pt>
                <c:pt idx="2104">
                  <c:v>0.9335</c:v>
                </c:pt>
                <c:pt idx="2105">
                  <c:v>0.94893000000000005</c:v>
                </c:pt>
                <c:pt idx="2106">
                  <c:v>0.93884999999999996</c:v>
                </c:pt>
                <c:pt idx="2107">
                  <c:v>0.91812000000000005</c:v>
                </c:pt>
                <c:pt idx="2108">
                  <c:v>0.91225999999999996</c:v>
                </c:pt>
                <c:pt idx="2109">
                  <c:v>0.93208000000000002</c:v>
                </c:pt>
                <c:pt idx="2110">
                  <c:v>0.94903000000000004</c:v>
                </c:pt>
                <c:pt idx="2111">
                  <c:v>0.93332999999999999</c:v>
                </c:pt>
                <c:pt idx="2112">
                  <c:v>0.90964</c:v>
                </c:pt>
                <c:pt idx="2113">
                  <c:v>0.94303999999999999</c:v>
                </c:pt>
                <c:pt idx="2114">
                  <c:v>0.92935000000000001</c:v>
                </c:pt>
                <c:pt idx="2115">
                  <c:v>0.92125999999999997</c:v>
                </c:pt>
                <c:pt idx="2116">
                  <c:v>0.92278000000000004</c:v>
                </c:pt>
                <c:pt idx="2117">
                  <c:v>0.91456999999999999</c:v>
                </c:pt>
                <c:pt idx="2118">
                  <c:v>0.92713999999999996</c:v>
                </c:pt>
                <c:pt idx="2119">
                  <c:v>0.91090000000000004</c:v>
                </c:pt>
                <c:pt idx="2120">
                  <c:v>0.90025999999999995</c:v>
                </c:pt>
                <c:pt idx="2121">
                  <c:v>0.94320999999999999</c:v>
                </c:pt>
                <c:pt idx="2122">
                  <c:v>0.94386000000000003</c:v>
                </c:pt>
                <c:pt idx="2123">
                  <c:v>0.91688000000000003</c:v>
                </c:pt>
                <c:pt idx="2124">
                  <c:v>0.94801000000000002</c:v>
                </c:pt>
                <c:pt idx="2125">
                  <c:v>0.92244000000000004</c:v>
                </c:pt>
                <c:pt idx="2126">
                  <c:v>0.93769000000000002</c:v>
                </c:pt>
                <c:pt idx="2127">
                  <c:v>0.92415999999999998</c:v>
                </c:pt>
                <c:pt idx="2128">
                  <c:v>0.95252000000000003</c:v>
                </c:pt>
                <c:pt idx="2129">
                  <c:v>0.94101000000000001</c:v>
                </c:pt>
                <c:pt idx="2130">
                  <c:v>0.94652999999999998</c:v>
                </c:pt>
                <c:pt idx="2131">
                  <c:v>0.90129000000000004</c:v>
                </c:pt>
                <c:pt idx="2132">
                  <c:v>0.91925999999999997</c:v>
                </c:pt>
                <c:pt idx="2133">
                  <c:v>0.91805999999999999</c:v>
                </c:pt>
                <c:pt idx="2134">
                  <c:v>0.94571000000000005</c:v>
                </c:pt>
                <c:pt idx="2135">
                  <c:v>0.92120000000000002</c:v>
                </c:pt>
                <c:pt idx="2136">
                  <c:v>0.94186000000000003</c:v>
                </c:pt>
                <c:pt idx="2137">
                  <c:v>0.93472</c:v>
                </c:pt>
                <c:pt idx="2138">
                  <c:v>0.93369999999999997</c:v>
                </c:pt>
                <c:pt idx="2139">
                  <c:v>0.94135999999999997</c:v>
                </c:pt>
                <c:pt idx="2140">
                  <c:v>0.95170999999999994</c:v>
                </c:pt>
                <c:pt idx="2141">
                  <c:v>0.93428999999999995</c:v>
                </c:pt>
                <c:pt idx="2142">
                  <c:v>0.91098000000000001</c:v>
                </c:pt>
                <c:pt idx="2143">
                  <c:v>0.93042999999999998</c:v>
                </c:pt>
                <c:pt idx="2144">
                  <c:v>0.91383999999999999</c:v>
                </c:pt>
                <c:pt idx="2145">
                  <c:v>0.94040000000000001</c:v>
                </c:pt>
                <c:pt idx="2146">
                  <c:v>0.93528</c:v>
                </c:pt>
                <c:pt idx="2147">
                  <c:v>0.95384999999999998</c:v>
                </c:pt>
                <c:pt idx="2148">
                  <c:v>0.93954000000000004</c:v>
                </c:pt>
                <c:pt idx="2149">
                  <c:v>0.94599</c:v>
                </c:pt>
                <c:pt idx="2150">
                  <c:v>0.94128000000000001</c:v>
                </c:pt>
                <c:pt idx="2151">
                  <c:v>0.90747</c:v>
                </c:pt>
                <c:pt idx="2152">
                  <c:v>0.93455999999999995</c:v>
                </c:pt>
                <c:pt idx="2153">
                  <c:v>0.94408999999999998</c:v>
                </c:pt>
                <c:pt idx="2154">
                  <c:v>0.93376999999999999</c:v>
                </c:pt>
                <c:pt idx="2155">
                  <c:v>0.94443999999999995</c:v>
                </c:pt>
                <c:pt idx="2156">
                  <c:v>0.92391000000000001</c:v>
                </c:pt>
                <c:pt idx="2157">
                  <c:v>0.92308000000000001</c:v>
                </c:pt>
                <c:pt idx="2158">
                  <c:v>0.93322000000000005</c:v>
                </c:pt>
                <c:pt idx="2159">
                  <c:v>0.91349000000000002</c:v>
                </c:pt>
                <c:pt idx="2160">
                  <c:v>0.92296999999999996</c:v>
                </c:pt>
                <c:pt idx="2161">
                  <c:v>0.95101000000000002</c:v>
                </c:pt>
                <c:pt idx="2162">
                  <c:v>0.92240999999999995</c:v>
                </c:pt>
                <c:pt idx="2163">
                  <c:v>0.91408999999999996</c:v>
                </c:pt>
                <c:pt idx="2164">
                  <c:v>0.93928999999999996</c:v>
                </c:pt>
                <c:pt idx="2165">
                  <c:v>0.92052999999999996</c:v>
                </c:pt>
                <c:pt idx="2166">
                  <c:v>0.94862999999999997</c:v>
                </c:pt>
                <c:pt idx="2167">
                  <c:v>0.92734000000000005</c:v>
                </c:pt>
                <c:pt idx="2168">
                  <c:v>0.93603000000000003</c:v>
                </c:pt>
                <c:pt idx="2169">
                  <c:v>0.90856000000000003</c:v>
                </c:pt>
                <c:pt idx="2170">
                  <c:v>0.93891000000000002</c:v>
                </c:pt>
                <c:pt idx="2171">
                  <c:v>0.93866000000000005</c:v>
                </c:pt>
                <c:pt idx="2172">
                  <c:v>0.93420999999999998</c:v>
                </c:pt>
                <c:pt idx="2173">
                  <c:v>0.96428999999999998</c:v>
                </c:pt>
                <c:pt idx="2174">
                  <c:v>0.91327000000000003</c:v>
                </c:pt>
                <c:pt idx="2175">
                  <c:v>0.93332999999999999</c:v>
                </c:pt>
                <c:pt idx="2176">
                  <c:v>0.94628000000000001</c:v>
                </c:pt>
                <c:pt idx="2177">
                  <c:v>0.93650999999999995</c:v>
                </c:pt>
                <c:pt idx="2178">
                  <c:v>0.92717000000000005</c:v>
                </c:pt>
                <c:pt idx="2179">
                  <c:v>0.93452000000000002</c:v>
                </c:pt>
                <c:pt idx="2180">
                  <c:v>0.92827000000000004</c:v>
                </c:pt>
                <c:pt idx="2181">
                  <c:v>0.96250000000000002</c:v>
                </c:pt>
                <c:pt idx="2182">
                  <c:v>0.93384999999999996</c:v>
                </c:pt>
                <c:pt idx="2183">
                  <c:v>0.92857000000000001</c:v>
                </c:pt>
                <c:pt idx="2184">
                  <c:v>0.93594999999999995</c:v>
                </c:pt>
                <c:pt idx="2185">
                  <c:v>0.92308000000000001</c:v>
                </c:pt>
                <c:pt idx="2186">
                  <c:v>0.92508999999999997</c:v>
                </c:pt>
                <c:pt idx="2187">
                  <c:v>0.94796000000000002</c:v>
                </c:pt>
                <c:pt idx="2188">
                  <c:v>0.90908999999999995</c:v>
                </c:pt>
                <c:pt idx="2189">
                  <c:v>0.92466000000000004</c:v>
                </c:pt>
                <c:pt idx="2190">
                  <c:v>0.95798000000000005</c:v>
                </c:pt>
                <c:pt idx="2191">
                  <c:v>0.95642000000000005</c:v>
                </c:pt>
                <c:pt idx="2192">
                  <c:v>0.94715000000000005</c:v>
                </c:pt>
                <c:pt idx="2193">
                  <c:v>0.93510000000000004</c:v>
                </c:pt>
                <c:pt idx="2194">
                  <c:v>0.93217000000000005</c:v>
                </c:pt>
                <c:pt idx="2195">
                  <c:v>0.94737000000000005</c:v>
                </c:pt>
                <c:pt idx="2196">
                  <c:v>0.95516000000000001</c:v>
                </c:pt>
                <c:pt idx="2197">
                  <c:v>0.95852999999999999</c:v>
                </c:pt>
                <c:pt idx="2198">
                  <c:v>0.95774999999999999</c:v>
                </c:pt>
                <c:pt idx="2199">
                  <c:v>0.94574999999999998</c:v>
                </c:pt>
                <c:pt idx="2200">
                  <c:v>0.95145999999999997</c:v>
                </c:pt>
                <c:pt idx="2201">
                  <c:v>0.93379000000000001</c:v>
                </c:pt>
                <c:pt idx="2202">
                  <c:v>0.97209999999999996</c:v>
                </c:pt>
                <c:pt idx="2203">
                  <c:v>0.94550000000000001</c:v>
                </c:pt>
                <c:pt idx="2204">
                  <c:v>0.94554000000000005</c:v>
                </c:pt>
                <c:pt idx="2205">
                  <c:v>0.94416999999999995</c:v>
                </c:pt>
                <c:pt idx="2206">
                  <c:v>0.92254000000000003</c:v>
                </c:pt>
                <c:pt idx="2207">
                  <c:v>0.92688999999999999</c:v>
                </c:pt>
                <c:pt idx="2208">
                  <c:v>0.93606999999999996</c:v>
                </c:pt>
                <c:pt idx="2209">
                  <c:v>0.94601999999999997</c:v>
                </c:pt>
                <c:pt idx="2210">
                  <c:v>0.91429000000000005</c:v>
                </c:pt>
                <c:pt idx="2211">
                  <c:v>0.96569000000000005</c:v>
                </c:pt>
                <c:pt idx="2212">
                  <c:v>0.92325999999999997</c:v>
                </c:pt>
                <c:pt idx="2213">
                  <c:v>0.91588999999999998</c:v>
                </c:pt>
                <c:pt idx="2214">
                  <c:v>0.90673999999999999</c:v>
                </c:pt>
                <c:pt idx="2215">
                  <c:v>0.90954999999999997</c:v>
                </c:pt>
                <c:pt idx="2216">
                  <c:v>0.95337000000000005</c:v>
                </c:pt>
                <c:pt idx="2217">
                  <c:v>0.92601999999999995</c:v>
                </c:pt>
                <c:pt idx="2218">
                  <c:v>0.96335000000000004</c:v>
                </c:pt>
                <c:pt idx="2219">
                  <c:v>0.94252999999999998</c:v>
                </c:pt>
                <c:pt idx="2220">
                  <c:v>0.94301000000000001</c:v>
                </c:pt>
                <c:pt idx="2221">
                  <c:v>0.95972999999999997</c:v>
                </c:pt>
                <c:pt idx="2222">
                  <c:v>0.94564999999999999</c:v>
                </c:pt>
                <c:pt idx="2223">
                  <c:v>0.94118000000000002</c:v>
                </c:pt>
                <c:pt idx="2224">
                  <c:v>0.94443999999999995</c:v>
                </c:pt>
                <c:pt idx="2225">
                  <c:v>0.92559999999999998</c:v>
                </c:pt>
                <c:pt idx="2226">
                  <c:v>0.95911999999999997</c:v>
                </c:pt>
                <c:pt idx="2227">
                  <c:v>0.93650999999999995</c:v>
                </c:pt>
                <c:pt idx="2228">
                  <c:v>0.96072999999999997</c:v>
                </c:pt>
                <c:pt idx="2229">
                  <c:v>0.95186999999999999</c:v>
                </c:pt>
                <c:pt idx="2230">
                  <c:v>0.93976000000000004</c:v>
                </c:pt>
                <c:pt idx="2231">
                  <c:v>0.94767000000000001</c:v>
                </c:pt>
                <c:pt idx="2232">
                  <c:v>0.93369999999999997</c:v>
                </c:pt>
                <c:pt idx="2233">
                  <c:v>0.93491000000000002</c:v>
                </c:pt>
                <c:pt idx="2234">
                  <c:v>0.91264999999999996</c:v>
                </c:pt>
                <c:pt idx="2235">
                  <c:v>0.93715999999999999</c:v>
                </c:pt>
                <c:pt idx="2236">
                  <c:v>0.92157</c:v>
                </c:pt>
                <c:pt idx="2237">
                  <c:v>0.97175</c:v>
                </c:pt>
                <c:pt idx="2238">
                  <c:v>0.94545000000000001</c:v>
                </c:pt>
                <c:pt idx="2239">
                  <c:v>0.92715000000000003</c:v>
                </c:pt>
                <c:pt idx="2240">
                  <c:v>0.92857000000000001</c:v>
                </c:pt>
                <c:pt idx="2241">
                  <c:v>0.93793000000000004</c:v>
                </c:pt>
                <c:pt idx="2242">
                  <c:v>0.94177999999999995</c:v>
                </c:pt>
                <c:pt idx="2243">
                  <c:v>0.96023000000000003</c:v>
                </c:pt>
                <c:pt idx="2244">
                  <c:v>0.93537000000000003</c:v>
                </c:pt>
                <c:pt idx="2245">
                  <c:v>0.96457000000000004</c:v>
                </c:pt>
                <c:pt idx="2246">
                  <c:v>0.95665</c:v>
                </c:pt>
                <c:pt idx="2247">
                  <c:v>0.95577999999999996</c:v>
                </c:pt>
                <c:pt idx="2248">
                  <c:v>0.94340000000000002</c:v>
                </c:pt>
                <c:pt idx="2249">
                  <c:v>0.94594999999999996</c:v>
                </c:pt>
                <c:pt idx="2250">
                  <c:v>0.90580000000000005</c:v>
                </c:pt>
                <c:pt idx="2251">
                  <c:v>0.92857000000000001</c:v>
                </c:pt>
                <c:pt idx="2252">
                  <c:v>0.95652000000000004</c:v>
                </c:pt>
                <c:pt idx="2253">
                  <c:v>0.98026000000000002</c:v>
                </c:pt>
                <c:pt idx="2254">
                  <c:v>0.94828000000000001</c:v>
                </c:pt>
                <c:pt idx="2255">
                  <c:v>0.93827000000000005</c:v>
                </c:pt>
                <c:pt idx="2256">
                  <c:v>0.95416999999999996</c:v>
                </c:pt>
                <c:pt idx="2257">
                  <c:v>0.95808000000000004</c:v>
                </c:pt>
                <c:pt idx="2258">
                  <c:v>0.93213999999999997</c:v>
                </c:pt>
                <c:pt idx="2259">
                  <c:v>0.95865</c:v>
                </c:pt>
                <c:pt idx="2260">
                  <c:v>0.94862999999999997</c:v>
                </c:pt>
                <c:pt idx="2261">
                  <c:v>0.94177999999999995</c:v>
                </c:pt>
                <c:pt idx="2262">
                  <c:v>0.92647000000000002</c:v>
                </c:pt>
                <c:pt idx="2263">
                  <c:v>0.92201999999999995</c:v>
                </c:pt>
                <c:pt idx="2264">
                  <c:v>0.97479000000000005</c:v>
                </c:pt>
                <c:pt idx="2265">
                  <c:v>0.92701</c:v>
                </c:pt>
                <c:pt idx="2266">
                  <c:v>0.93893000000000004</c:v>
                </c:pt>
                <c:pt idx="2267">
                  <c:v>0.95199999999999996</c:v>
                </c:pt>
                <c:pt idx="2268">
                  <c:v>0.97287000000000001</c:v>
                </c:pt>
                <c:pt idx="2269">
                  <c:v>0.95745000000000002</c:v>
                </c:pt>
                <c:pt idx="2270">
                  <c:v>0.98373999999999995</c:v>
                </c:pt>
                <c:pt idx="2271">
                  <c:v>0.94574000000000003</c:v>
                </c:pt>
                <c:pt idx="2272">
                  <c:v>0.93511</c:v>
                </c:pt>
                <c:pt idx="2273">
                  <c:v>0.94366000000000005</c:v>
                </c:pt>
                <c:pt idx="2274">
                  <c:v>0.95</c:v>
                </c:pt>
                <c:pt idx="2275">
                  <c:v>0.96121000000000001</c:v>
                </c:pt>
                <c:pt idx="2276">
                  <c:v>0.96186000000000005</c:v>
                </c:pt>
                <c:pt idx="2277">
                  <c:v>0.95494999999999997</c:v>
                </c:pt>
                <c:pt idx="2278">
                  <c:v>0.93276999999999999</c:v>
                </c:pt>
                <c:pt idx="2279">
                  <c:v>0.98819000000000001</c:v>
                </c:pt>
                <c:pt idx="2280">
                  <c:v>0.96491000000000005</c:v>
                </c:pt>
                <c:pt idx="2281">
                  <c:v>0.92523</c:v>
                </c:pt>
                <c:pt idx="2282">
                  <c:v>0.94689999999999996</c:v>
                </c:pt>
                <c:pt idx="2283">
                  <c:v>0.96269000000000005</c:v>
                </c:pt>
                <c:pt idx="2284">
                  <c:v>0.96153999999999995</c:v>
                </c:pt>
                <c:pt idx="2285">
                  <c:v>0.94642999999999999</c:v>
                </c:pt>
                <c:pt idx="2286">
                  <c:v>0.98251999999999995</c:v>
                </c:pt>
                <c:pt idx="2287">
                  <c:v>0.95535999999999999</c:v>
                </c:pt>
                <c:pt idx="2288">
                  <c:v>0.92793000000000003</c:v>
                </c:pt>
                <c:pt idx="2289">
                  <c:v>0.98148000000000002</c:v>
                </c:pt>
                <c:pt idx="2290">
                  <c:v>0.94118000000000002</c:v>
                </c:pt>
                <c:pt idx="2291">
                  <c:v>0.95713999999999999</c:v>
                </c:pt>
                <c:pt idx="2292">
                  <c:v>0.93577999999999995</c:v>
                </c:pt>
                <c:pt idx="2293">
                  <c:v>0.96635000000000004</c:v>
                </c:pt>
                <c:pt idx="2294">
                  <c:v>0.96552000000000004</c:v>
                </c:pt>
                <c:pt idx="2295">
                  <c:v>0.91025999999999996</c:v>
                </c:pt>
                <c:pt idx="2296">
                  <c:v>0.91837000000000002</c:v>
                </c:pt>
                <c:pt idx="2297">
                  <c:v>0.95040999999999998</c:v>
                </c:pt>
                <c:pt idx="2298">
                  <c:v>0.95238</c:v>
                </c:pt>
                <c:pt idx="2299">
                  <c:v>0.92308000000000001</c:v>
                </c:pt>
                <c:pt idx="2300">
                  <c:v>0.98370000000000002</c:v>
                </c:pt>
                <c:pt idx="2301">
                  <c:v>0.94494999999999996</c:v>
                </c:pt>
                <c:pt idx="2302">
                  <c:v>0.96875</c:v>
                </c:pt>
                <c:pt idx="2303">
                  <c:v>0.97367999999999999</c:v>
                </c:pt>
                <c:pt idx="2304">
                  <c:v>0.97938000000000003</c:v>
                </c:pt>
                <c:pt idx="2305">
                  <c:v>0.97777999999999998</c:v>
                </c:pt>
                <c:pt idx="2306">
                  <c:v>0.96970000000000001</c:v>
                </c:pt>
                <c:pt idx="2307">
                  <c:v>0.92857000000000001</c:v>
                </c:pt>
                <c:pt idx="2308">
                  <c:v>0.95040999999999998</c:v>
                </c:pt>
                <c:pt idx="2309">
                  <c:v>0.93125000000000002</c:v>
                </c:pt>
                <c:pt idx="2310">
                  <c:v>0.95794000000000001</c:v>
                </c:pt>
                <c:pt idx="2311">
                  <c:v>0.96428999999999998</c:v>
                </c:pt>
                <c:pt idx="2312">
                  <c:v>0.95413000000000003</c:v>
                </c:pt>
                <c:pt idx="2313">
                  <c:v>0.96702999999999995</c:v>
                </c:pt>
                <c:pt idx="2314">
                  <c:v>0.9798</c:v>
                </c:pt>
                <c:pt idx="2315">
                  <c:v>0.96711000000000003</c:v>
                </c:pt>
                <c:pt idx="2316">
                  <c:v>0.97701000000000005</c:v>
                </c:pt>
                <c:pt idx="2317">
                  <c:v>0.96875</c:v>
                </c:pt>
                <c:pt idx="2318">
                  <c:v>0.93528999999999995</c:v>
                </c:pt>
                <c:pt idx="2319">
                  <c:v>0.95569999999999999</c:v>
                </c:pt>
                <c:pt idx="2320">
                  <c:v>0.97402999999999995</c:v>
                </c:pt>
                <c:pt idx="2321">
                  <c:v>0.92940999999999996</c:v>
                </c:pt>
                <c:pt idx="2322">
                  <c:v>0.94906999999999997</c:v>
                </c:pt>
                <c:pt idx="2323">
                  <c:v>0.94642999999999999</c:v>
                </c:pt>
                <c:pt idx="2324">
                  <c:v>0.95506000000000002</c:v>
                </c:pt>
                <c:pt idx="2325">
                  <c:v>0.96196000000000004</c:v>
                </c:pt>
                <c:pt idx="2326">
                  <c:v>0.99397999999999997</c:v>
                </c:pt>
                <c:pt idx="2327">
                  <c:v>0.95313000000000003</c:v>
                </c:pt>
                <c:pt idx="2328">
                  <c:v>0.93835999999999997</c:v>
                </c:pt>
                <c:pt idx="2329">
                  <c:v>0.97023999999999999</c:v>
                </c:pt>
                <c:pt idx="2330">
                  <c:v>0.93938999999999995</c:v>
                </c:pt>
                <c:pt idx="2331">
                  <c:v>0.92169000000000001</c:v>
                </c:pt>
                <c:pt idx="2332">
                  <c:v>0.95</c:v>
                </c:pt>
                <c:pt idx="2333">
                  <c:v>0.95055000000000001</c:v>
                </c:pt>
                <c:pt idx="2334">
                  <c:v>0.95789000000000002</c:v>
                </c:pt>
                <c:pt idx="2335">
                  <c:v>0.95833000000000002</c:v>
                </c:pt>
                <c:pt idx="2336">
                  <c:v>0.96774000000000004</c:v>
                </c:pt>
                <c:pt idx="2337">
                  <c:v>0.95930000000000004</c:v>
                </c:pt>
                <c:pt idx="2338">
                  <c:v>0.88332999999999995</c:v>
                </c:pt>
                <c:pt idx="2339">
                  <c:v>0.96211999999999998</c:v>
                </c:pt>
                <c:pt idx="2340">
                  <c:v>0.96269000000000005</c:v>
                </c:pt>
                <c:pt idx="2341">
                  <c:v>0.98734</c:v>
                </c:pt>
                <c:pt idx="2342">
                  <c:v>0.96</c:v>
                </c:pt>
                <c:pt idx="2343">
                  <c:v>0.96950999999999998</c:v>
                </c:pt>
                <c:pt idx="2344">
                  <c:v>0.92352999999999996</c:v>
                </c:pt>
                <c:pt idx="2345">
                  <c:v>0.98851</c:v>
                </c:pt>
                <c:pt idx="2346">
                  <c:v>0.95625000000000004</c:v>
                </c:pt>
                <c:pt idx="2347">
                  <c:v>0.98611000000000004</c:v>
                </c:pt>
                <c:pt idx="2348">
                  <c:v>0.93420999999999998</c:v>
                </c:pt>
                <c:pt idx="2349">
                  <c:v>0.96052999999999999</c:v>
                </c:pt>
                <c:pt idx="2350">
                  <c:v>0.98551</c:v>
                </c:pt>
                <c:pt idx="2351">
                  <c:v>0.96552000000000004</c:v>
                </c:pt>
                <c:pt idx="2352">
                  <c:v>0.95082</c:v>
                </c:pt>
                <c:pt idx="2353">
                  <c:v>0.97402999999999995</c:v>
                </c:pt>
                <c:pt idx="2354">
                  <c:v>0.95587999999999995</c:v>
                </c:pt>
                <c:pt idx="2355">
                  <c:v>0.91447000000000001</c:v>
                </c:pt>
                <c:pt idx="2356">
                  <c:v>0.97014999999999996</c:v>
                </c:pt>
                <c:pt idx="2357">
                  <c:v>0.98629999999999995</c:v>
                </c:pt>
                <c:pt idx="2358">
                  <c:v>0.90908999999999995</c:v>
                </c:pt>
                <c:pt idx="2359">
                  <c:v>0.93210000000000004</c:v>
                </c:pt>
                <c:pt idx="2360">
                  <c:v>0.95160999999999996</c:v>
                </c:pt>
                <c:pt idx="2361">
                  <c:v>0.94737000000000005</c:v>
                </c:pt>
                <c:pt idx="2362">
                  <c:v>0.94594999999999996</c:v>
                </c:pt>
                <c:pt idx="2363">
                  <c:v>0.93103000000000002</c:v>
                </c:pt>
                <c:pt idx="2364">
                  <c:v>0.98182000000000003</c:v>
                </c:pt>
                <c:pt idx="2365">
                  <c:v>0.9375</c:v>
                </c:pt>
                <c:pt idx="2366">
                  <c:v>0.94366000000000005</c:v>
                </c:pt>
                <c:pt idx="2367">
                  <c:v>0.98275999999999997</c:v>
                </c:pt>
                <c:pt idx="2368">
                  <c:v>0.94852999999999998</c:v>
                </c:pt>
                <c:pt idx="2369">
                  <c:v>0.92981999999999998</c:v>
                </c:pt>
                <c:pt idx="2370">
                  <c:v>0.94737000000000005</c:v>
                </c:pt>
                <c:pt idx="2371">
                  <c:v>0.95160999999999996</c:v>
                </c:pt>
                <c:pt idx="2372">
                  <c:v>0.99056999999999995</c:v>
                </c:pt>
                <c:pt idx="2373">
                  <c:v>1</c:v>
                </c:pt>
                <c:pt idx="2374">
                  <c:v>1</c:v>
                </c:pt>
                <c:pt idx="2375">
                  <c:v>0.9375</c:v>
                </c:pt>
                <c:pt idx="2376">
                  <c:v>0.98</c:v>
                </c:pt>
                <c:pt idx="2377">
                  <c:v>0.89063000000000003</c:v>
                </c:pt>
                <c:pt idx="2378">
                  <c:v>0.92308000000000001</c:v>
                </c:pt>
                <c:pt idx="2379">
                  <c:v>0.96667000000000003</c:v>
                </c:pt>
                <c:pt idx="2380">
                  <c:v>0.94737000000000005</c:v>
                </c:pt>
                <c:pt idx="2381">
                  <c:v>0.91837000000000002</c:v>
                </c:pt>
                <c:pt idx="2382">
                  <c:v>0.96774000000000004</c:v>
                </c:pt>
                <c:pt idx="2383">
                  <c:v>0.96875</c:v>
                </c:pt>
                <c:pt idx="2384">
                  <c:v>0.96511999999999998</c:v>
                </c:pt>
                <c:pt idx="2385">
                  <c:v>0.96428999999999998</c:v>
                </c:pt>
                <c:pt idx="2386">
                  <c:v>0.95587999999999995</c:v>
                </c:pt>
                <c:pt idx="2387">
                  <c:v>0.91</c:v>
                </c:pt>
                <c:pt idx="2388">
                  <c:v>0.97826000000000002</c:v>
                </c:pt>
                <c:pt idx="2389">
                  <c:v>0.98246</c:v>
                </c:pt>
                <c:pt idx="2390">
                  <c:v>0.91666999999999998</c:v>
                </c:pt>
                <c:pt idx="2391">
                  <c:v>0.97221999999999997</c:v>
                </c:pt>
                <c:pt idx="2392">
                  <c:v>0.95555999999999996</c:v>
                </c:pt>
                <c:pt idx="2393">
                  <c:v>0.96153999999999995</c:v>
                </c:pt>
                <c:pt idx="2394">
                  <c:v>0.97826000000000002</c:v>
                </c:pt>
                <c:pt idx="2395">
                  <c:v>0.88888999999999996</c:v>
                </c:pt>
                <c:pt idx="2396">
                  <c:v>0.91818</c:v>
                </c:pt>
                <c:pt idx="2397">
                  <c:v>1</c:v>
                </c:pt>
                <c:pt idx="2398">
                  <c:v>1</c:v>
                </c:pt>
                <c:pt idx="2399">
                  <c:v>0.89795999999999998</c:v>
                </c:pt>
                <c:pt idx="2400">
                  <c:v>0.93877999999999995</c:v>
                </c:pt>
                <c:pt idx="2401">
                  <c:v>0.95098000000000005</c:v>
                </c:pt>
                <c:pt idx="2402">
                  <c:v>1</c:v>
                </c:pt>
                <c:pt idx="2403">
                  <c:v>0.93518999999999997</c:v>
                </c:pt>
                <c:pt idx="2404">
                  <c:v>0.98148000000000002</c:v>
                </c:pt>
                <c:pt idx="2405">
                  <c:v>0.94286000000000003</c:v>
                </c:pt>
                <c:pt idx="2406">
                  <c:v>0.95455000000000001</c:v>
                </c:pt>
                <c:pt idx="2407">
                  <c:v>0.85714000000000001</c:v>
                </c:pt>
                <c:pt idx="2408">
                  <c:v>1</c:v>
                </c:pt>
                <c:pt idx="2409">
                  <c:v>0.96591000000000005</c:v>
                </c:pt>
                <c:pt idx="2410">
                  <c:v>0.9375</c:v>
                </c:pt>
                <c:pt idx="2411">
                  <c:v>0.95121999999999995</c:v>
                </c:pt>
                <c:pt idx="2412">
                  <c:v>0.97367999999999999</c:v>
                </c:pt>
                <c:pt idx="2413">
                  <c:v>0.98780000000000001</c:v>
                </c:pt>
                <c:pt idx="2414">
                  <c:v>0.95945999999999998</c:v>
                </c:pt>
                <c:pt idx="2415">
                  <c:v>0.97560999999999998</c:v>
                </c:pt>
                <c:pt idx="2416">
                  <c:v>1</c:v>
                </c:pt>
                <c:pt idx="2417">
                  <c:v>0.97297</c:v>
                </c:pt>
                <c:pt idx="2418">
                  <c:v>0.94681000000000004</c:v>
                </c:pt>
                <c:pt idx="2419">
                  <c:v>0.92308000000000001</c:v>
                </c:pt>
                <c:pt idx="2420">
                  <c:v>0.97726999999999997</c:v>
                </c:pt>
                <c:pt idx="2421">
                  <c:v>0.95652000000000004</c:v>
                </c:pt>
                <c:pt idx="2422">
                  <c:v>0.91666999999999998</c:v>
                </c:pt>
                <c:pt idx="2423">
                  <c:v>0.97726999999999997</c:v>
                </c:pt>
                <c:pt idx="2424">
                  <c:v>0.94443999999999995</c:v>
                </c:pt>
                <c:pt idx="2425">
                  <c:v>0.94286000000000003</c:v>
                </c:pt>
                <c:pt idx="2426">
                  <c:v>0.96667000000000003</c:v>
                </c:pt>
                <c:pt idx="2427">
                  <c:v>0.97560999999999998</c:v>
                </c:pt>
                <c:pt idx="2428">
                  <c:v>0.96250000000000002</c:v>
                </c:pt>
                <c:pt idx="2429">
                  <c:v>0.88775999999999999</c:v>
                </c:pt>
                <c:pt idx="2430">
                  <c:v>0.90908999999999995</c:v>
                </c:pt>
                <c:pt idx="2431">
                  <c:v>0.94286000000000003</c:v>
                </c:pt>
                <c:pt idx="2432">
                  <c:v>0.97958999999999996</c:v>
                </c:pt>
                <c:pt idx="2433">
                  <c:v>0.90625</c:v>
                </c:pt>
                <c:pt idx="2434">
                  <c:v>1</c:v>
                </c:pt>
                <c:pt idx="2435">
                  <c:v>0.97499999999999998</c:v>
                </c:pt>
                <c:pt idx="2436">
                  <c:v>0.96052999999999999</c:v>
                </c:pt>
                <c:pt idx="2437">
                  <c:v>0.97499999999999998</c:v>
                </c:pt>
                <c:pt idx="2438">
                  <c:v>1</c:v>
                </c:pt>
                <c:pt idx="2439">
                  <c:v>1</c:v>
                </c:pt>
                <c:pt idx="2440">
                  <c:v>0.96591000000000005</c:v>
                </c:pt>
                <c:pt idx="2441">
                  <c:v>0.94443999999999995</c:v>
                </c:pt>
                <c:pt idx="2442">
                  <c:v>0.94737000000000005</c:v>
                </c:pt>
                <c:pt idx="2443">
                  <c:v>0.93478000000000006</c:v>
                </c:pt>
                <c:pt idx="2444">
                  <c:v>0.97221999999999997</c:v>
                </c:pt>
                <c:pt idx="2445">
                  <c:v>0.83784000000000003</c:v>
                </c:pt>
                <c:pt idx="2446">
                  <c:v>0.97058999999999995</c:v>
                </c:pt>
                <c:pt idx="2447">
                  <c:v>0.94286000000000003</c:v>
                </c:pt>
                <c:pt idx="2448">
                  <c:v>1</c:v>
                </c:pt>
                <c:pt idx="2449">
                  <c:v>1</c:v>
                </c:pt>
                <c:pt idx="2450">
                  <c:v>0.94118000000000002</c:v>
                </c:pt>
                <c:pt idx="2451">
                  <c:v>0.96552000000000004</c:v>
                </c:pt>
                <c:pt idx="2452">
                  <c:v>1</c:v>
                </c:pt>
                <c:pt idx="2453">
                  <c:v>0.93547999999999998</c:v>
                </c:pt>
                <c:pt idx="2454">
                  <c:v>1</c:v>
                </c:pt>
                <c:pt idx="2455">
                  <c:v>1</c:v>
                </c:pt>
                <c:pt idx="2456">
                  <c:v>0.88158000000000003</c:v>
                </c:pt>
                <c:pt idx="2457">
                  <c:v>0.98485</c:v>
                </c:pt>
                <c:pt idx="2458">
                  <c:v>0.92</c:v>
                </c:pt>
                <c:pt idx="2459">
                  <c:v>1</c:v>
                </c:pt>
                <c:pt idx="2460">
                  <c:v>0.95160999999999996</c:v>
                </c:pt>
                <c:pt idx="2461">
                  <c:v>1</c:v>
                </c:pt>
                <c:pt idx="2462">
                  <c:v>0.95455000000000001</c:v>
                </c:pt>
                <c:pt idx="2463">
                  <c:v>1</c:v>
                </c:pt>
                <c:pt idx="2464">
                  <c:v>0.92857000000000001</c:v>
                </c:pt>
                <c:pt idx="2465">
                  <c:v>0.92857000000000001</c:v>
                </c:pt>
                <c:pt idx="2466">
                  <c:v>1</c:v>
                </c:pt>
                <c:pt idx="2467">
                  <c:v>0.95</c:v>
                </c:pt>
                <c:pt idx="2468">
                  <c:v>1</c:v>
                </c:pt>
                <c:pt idx="2469">
                  <c:v>0.97436</c:v>
                </c:pt>
                <c:pt idx="2470">
                  <c:v>0.96296000000000004</c:v>
                </c:pt>
                <c:pt idx="2471">
                  <c:v>0.91176000000000001</c:v>
                </c:pt>
                <c:pt idx="2472">
                  <c:v>1</c:v>
                </c:pt>
                <c:pt idx="2473">
                  <c:v>1</c:v>
                </c:pt>
                <c:pt idx="2474">
                  <c:v>1</c:v>
                </c:pt>
                <c:pt idx="2475">
                  <c:v>1</c:v>
                </c:pt>
                <c:pt idx="2476">
                  <c:v>1</c:v>
                </c:pt>
                <c:pt idx="2477">
                  <c:v>1</c:v>
                </c:pt>
                <c:pt idx="2478">
                  <c:v>1</c:v>
                </c:pt>
                <c:pt idx="2479">
                  <c:v>0.92308000000000001</c:v>
                </c:pt>
                <c:pt idx="2480">
                  <c:v>1</c:v>
                </c:pt>
                <c:pt idx="2481">
                  <c:v>1</c:v>
                </c:pt>
                <c:pt idx="2482">
                  <c:v>0.96428999999999998</c:v>
                </c:pt>
                <c:pt idx="2483">
                  <c:v>1</c:v>
                </c:pt>
                <c:pt idx="2484">
                  <c:v>0.96667000000000003</c:v>
                </c:pt>
                <c:pt idx="2485">
                  <c:v>0.89583000000000002</c:v>
                </c:pt>
                <c:pt idx="2486">
                  <c:v>0.97826000000000002</c:v>
                </c:pt>
                <c:pt idx="2487">
                  <c:v>0.86363999999999996</c:v>
                </c:pt>
                <c:pt idx="2488">
                  <c:v>0.97916999999999998</c:v>
                </c:pt>
                <c:pt idx="2489">
                  <c:v>1</c:v>
                </c:pt>
                <c:pt idx="2490">
                  <c:v>1</c:v>
                </c:pt>
                <c:pt idx="2491">
                  <c:v>0.97826000000000002</c:v>
                </c:pt>
                <c:pt idx="2492">
                  <c:v>0.91303999999999996</c:v>
                </c:pt>
                <c:pt idx="2493">
                  <c:v>0.95455000000000001</c:v>
                </c:pt>
                <c:pt idx="2494">
                  <c:v>1</c:v>
                </c:pt>
                <c:pt idx="2495">
                  <c:v>1</c:v>
                </c:pt>
                <c:pt idx="2496">
                  <c:v>0.96428999999999998</c:v>
                </c:pt>
                <c:pt idx="2497">
                  <c:v>0.94737000000000005</c:v>
                </c:pt>
                <c:pt idx="2498">
                  <c:v>0.94737000000000005</c:v>
                </c:pt>
                <c:pt idx="2499">
                  <c:v>0.91303999999999996</c:v>
                </c:pt>
                <c:pt idx="2500">
                  <c:v>0.94594999999999996</c:v>
                </c:pt>
                <c:pt idx="2501">
                  <c:v>0.90908999999999995</c:v>
                </c:pt>
                <c:pt idx="2502">
                  <c:v>1</c:v>
                </c:pt>
                <c:pt idx="2503">
                  <c:v>1</c:v>
                </c:pt>
                <c:pt idx="2504">
                  <c:v>1</c:v>
                </c:pt>
                <c:pt idx="2505">
                  <c:v>1</c:v>
                </c:pt>
                <c:pt idx="2506">
                  <c:v>1</c:v>
                </c:pt>
                <c:pt idx="2507">
                  <c:v>0.875</c:v>
                </c:pt>
                <c:pt idx="2508">
                  <c:v>0.96</c:v>
                </c:pt>
                <c:pt idx="2509">
                  <c:v>0.96153999999999995</c:v>
                </c:pt>
                <c:pt idx="2510">
                  <c:v>1</c:v>
                </c:pt>
                <c:pt idx="2511">
                  <c:v>0.94118000000000002</c:v>
                </c:pt>
                <c:pt idx="2512">
                  <c:v>0.95</c:v>
                </c:pt>
                <c:pt idx="2513">
                  <c:v>0.97726999999999997</c:v>
                </c:pt>
                <c:pt idx="2514">
                  <c:v>1</c:v>
                </c:pt>
                <c:pt idx="2515">
                  <c:v>1</c:v>
                </c:pt>
                <c:pt idx="2516">
                  <c:v>0.92</c:v>
                </c:pt>
                <c:pt idx="2517">
                  <c:v>1</c:v>
                </c:pt>
                <c:pt idx="2518">
                  <c:v>1</c:v>
                </c:pt>
                <c:pt idx="2519">
                  <c:v>0.92308000000000001</c:v>
                </c:pt>
                <c:pt idx="2520">
                  <c:v>1</c:v>
                </c:pt>
                <c:pt idx="2521">
                  <c:v>0.82352999999999998</c:v>
                </c:pt>
                <c:pt idx="2522">
                  <c:v>0.94118000000000002</c:v>
                </c:pt>
                <c:pt idx="2523">
                  <c:v>0.93332999999999999</c:v>
                </c:pt>
                <c:pt idx="2524">
                  <c:v>0.9375</c:v>
                </c:pt>
                <c:pt idx="2525">
                  <c:v>0.98148000000000002</c:v>
                </c:pt>
                <c:pt idx="2526">
                  <c:v>0.9</c:v>
                </c:pt>
                <c:pt idx="2527">
                  <c:v>0.97499999999999998</c:v>
                </c:pt>
                <c:pt idx="2528">
                  <c:v>0.89129999999999998</c:v>
                </c:pt>
                <c:pt idx="2529">
                  <c:v>0.92500000000000004</c:v>
                </c:pt>
                <c:pt idx="2530">
                  <c:v>1</c:v>
                </c:pt>
                <c:pt idx="2531">
                  <c:v>0.95833000000000002</c:v>
                </c:pt>
                <c:pt idx="2532">
                  <c:v>1</c:v>
                </c:pt>
                <c:pt idx="2533">
                  <c:v>0.94443999999999995</c:v>
                </c:pt>
                <c:pt idx="2534">
                  <c:v>0.90908999999999995</c:v>
                </c:pt>
                <c:pt idx="2535">
                  <c:v>1</c:v>
                </c:pt>
                <c:pt idx="2536">
                  <c:v>1</c:v>
                </c:pt>
                <c:pt idx="2537">
                  <c:v>1</c:v>
                </c:pt>
                <c:pt idx="2538">
                  <c:v>1</c:v>
                </c:pt>
                <c:pt idx="2539">
                  <c:v>1</c:v>
                </c:pt>
                <c:pt idx="2540">
                  <c:v>0.92500000000000004</c:v>
                </c:pt>
                <c:pt idx="2541">
                  <c:v>1</c:v>
                </c:pt>
                <c:pt idx="2542">
                  <c:v>0.91666999999999998</c:v>
                </c:pt>
                <c:pt idx="2543">
                  <c:v>1</c:v>
                </c:pt>
                <c:pt idx="2544">
                  <c:v>0.94443999999999995</c:v>
                </c:pt>
                <c:pt idx="2545">
                  <c:v>1</c:v>
                </c:pt>
                <c:pt idx="2546">
                  <c:v>1</c:v>
                </c:pt>
                <c:pt idx="2547">
                  <c:v>1</c:v>
                </c:pt>
                <c:pt idx="2548">
                  <c:v>1</c:v>
                </c:pt>
                <c:pt idx="2549">
                  <c:v>1</c:v>
                </c:pt>
                <c:pt idx="2550">
                  <c:v>1</c:v>
                </c:pt>
                <c:pt idx="2551">
                  <c:v>1</c:v>
                </c:pt>
                <c:pt idx="2552">
                  <c:v>1</c:v>
                </c:pt>
                <c:pt idx="2553">
                  <c:v>0.86667000000000005</c:v>
                </c:pt>
                <c:pt idx="2554">
                  <c:v>0.92857000000000001</c:v>
                </c:pt>
                <c:pt idx="2555">
                  <c:v>0.88888999999999996</c:v>
                </c:pt>
                <c:pt idx="2556">
                  <c:v>1</c:v>
                </c:pt>
                <c:pt idx="2557">
                  <c:v>1</c:v>
                </c:pt>
                <c:pt idx="2558">
                  <c:v>1</c:v>
                </c:pt>
                <c:pt idx="2559">
                  <c:v>1</c:v>
                </c:pt>
                <c:pt idx="2560">
                  <c:v>0.92857000000000001</c:v>
                </c:pt>
                <c:pt idx="2561">
                  <c:v>1</c:v>
                </c:pt>
                <c:pt idx="2562">
                  <c:v>1</c:v>
                </c:pt>
                <c:pt idx="2563">
                  <c:v>1</c:v>
                </c:pt>
                <c:pt idx="2564">
                  <c:v>1</c:v>
                </c:pt>
                <c:pt idx="2565">
                  <c:v>1</c:v>
                </c:pt>
                <c:pt idx="2566">
                  <c:v>1</c:v>
                </c:pt>
                <c:pt idx="2567">
                  <c:v>1</c:v>
                </c:pt>
                <c:pt idx="2568">
                  <c:v>1</c:v>
                </c:pt>
                <c:pt idx="2569">
                  <c:v>1</c:v>
                </c:pt>
                <c:pt idx="2570">
                  <c:v>1</c:v>
                </c:pt>
                <c:pt idx="2571">
                  <c:v>0.96875</c:v>
                </c:pt>
                <c:pt idx="2572">
                  <c:v>0.92857000000000001</c:v>
                </c:pt>
                <c:pt idx="2573">
                  <c:v>1</c:v>
                </c:pt>
                <c:pt idx="2574">
                  <c:v>0.83333000000000002</c:v>
                </c:pt>
                <c:pt idx="2575">
                  <c:v>1</c:v>
                </c:pt>
                <c:pt idx="2576">
                  <c:v>1</c:v>
                </c:pt>
                <c:pt idx="2577">
                  <c:v>1</c:v>
                </c:pt>
                <c:pt idx="2578">
                  <c:v>1</c:v>
                </c:pt>
                <c:pt idx="2579">
                  <c:v>1</c:v>
                </c:pt>
                <c:pt idx="2580">
                  <c:v>1</c:v>
                </c:pt>
                <c:pt idx="2581">
                  <c:v>1</c:v>
                </c:pt>
                <c:pt idx="2582">
                  <c:v>1</c:v>
                </c:pt>
                <c:pt idx="2583">
                  <c:v>1</c:v>
                </c:pt>
                <c:pt idx="2584">
                  <c:v>0.89285999999999999</c:v>
                </c:pt>
                <c:pt idx="2585">
                  <c:v>0.92105000000000004</c:v>
                </c:pt>
                <c:pt idx="2586">
                  <c:v>1</c:v>
                </c:pt>
                <c:pt idx="2587">
                  <c:v>0.91666999999999998</c:v>
                </c:pt>
                <c:pt idx="2588">
                  <c:v>0.83333000000000002</c:v>
                </c:pt>
                <c:pt idx="2589">
                  <c:v>1</c:v>
                </c:pt>
                <c:pt idx="2590">
                  <c:v>1</c:v>
                </c:pt>
                <c:pt idx="2591">
                  <c:v>1</c:v>
                </c:pt>
                <c:pt idx="2592">
                  <c:v>0.8</c:v>
                </c:pt>
                <c:pt idx="2593">
                  <c:v>0.93332999999999999</c:v>
                </c:pt>
                <c:pt idx="2594">
                  <c:v>1</c:v>
                </c:pt>
                <c:pt idx="2595">
                  <c:v>0.94443999999999995</c:v>
                </c:pt>
                <c:pt idx="2596">
                  <c:v>0.96428999999999998</c:v>
                </c:pt>
                <c:pt idx="2597">
                  <c:v>1</c:v>
                </c:pt>
                <c:pt idx="2598">
                  <c:v>1</c:v>
                </c:pt>
                <c:pt idx="2599">
                  <c:v>1</c:v>
                </c:pt>
                <c:pt idx="2600">
                  <c:v>1</c:v>
                </c:pt>
                <c:pt idx="2601">
                  <c:v>1</c:v>
                </c:pt>
                <c:pt idx="2602">
                  <c:v>1</c:v>
                </c:pt>
                <c:pt idx="2603">
                  <c:v>1</c:v>
                </c:pt>
                <c:pt idx="2604">
                  <c:v>1</c:v>
                </c:pt>
                <c:pt idx="2605">
                  <c:v>0.8</c:v>
                </c:pt>
                <c:pt idx="2606">
                  <c:v>0.85</c:v>
                </c:pt>
                <c:pt idx="2607">
                  <c:v>1</c:v>
                </c:pt>
                <c:pt idx="2608">
                  <c:v>0.91666999999999998</c:v>
                </c:pt>
                <c:pt idx="2609">
                  <c:v>0.75</c:v>
                </c:pt>
                <c:pt idx="2610">
                  <c:v>1</c:v>
                </c:pt>
                <c:pt idx="2611">
                  <c:v>1</c:v>
                </c:pt>
                <c:pt idx="2612">
                  <c:v>1</c:v>
                </c:pt>
                <c:pt idx="2613">
                  <c:v>1</c:v>
                </c:pt>
                <c:pt idx="2614">
                  <c:v>1</c:v>
                </c:pt>
                <c:pt idx="2615">
                  <c:v>1</c:v>
                </c:pt>
                <c:pt idx="2616">
                  <c:v>1</c:v>
                </c:pt>
                <c:pt idx="2617">
                  <c:v>1</c:v>
                </c:pt>
                <c:pt idx="2618">
                  <c:v>1</c:v>
                </c:pt>
                <c:pt idx="2619">
                  <c:v>1</c:v>
                </c:pt>
                <c:pt idx="2620">
                  <c:v>1</c:v>
                </c:pt>
                <c:pt idx="2621">
                  <c:v>1</c:v>
                </c:pt>
                <c:pt idx="2622">
                  <c:v>1</c:v>
                </c:pt>
                <c:pt idx="2623">
                  <c:v>1</c:v>
                </c:pt>
                <c:pt idx="2624">
                  <c:v>1</c:v>
                </c:pt>
                <c:pt idx="2625">
                  <c:v>1</c:v>
                </c:pt>
                <c:pt idx="2626">
                  <c:v>1</c:v>
                </c:pt>
                <c:pt idx="2627">
                  <c:v>1</c:v>
                </c:pt>
                <c:pt idx="2628">
                  <c:v>1</c:v>
                </c:pt>
                <c:pt idx="2629">
                  <c:v>1</c:v>
                </c:pt>
                <c:pt idx="2630">
                  <c:v>0.88888999999999996</c:v>
                </c:pt>
                <c:pt idx="2631">
                  <c:v>1</c:v>
                </c:pt>
                <c:pt idx="2632">
                  <c:v>1</c:v>
                </c:pt>
                <c:pt idx="2633">
                  <c:v>1</c:v>
                </c:pt>
                <c:pt idx="2634">
                  <c:v>0.85714000000000001</c:v>
                </c:pt>
                <c:pt idx="2635">
                  <c:v>1</c:v>
                </c:pt>
                <c:pt idx="2636">
                  <c:v>1</c:v>
                </c:pt>
                <c:pt idx="2637">
                  <c:v>1</c:v>
                </c:pt>
                <c:pt idx="2638">
                  <c:v>0.88888999999999996</c:v>
                </c:pt>
                <c:pt idx="2639">
                  <c:v>1</c:v>
                </c:pt>
                <c:pt idx="2640">
                  <c:v>0.875</c:v>
                </c:pt>
                <c:pt idx="2641">
                  <c:v>0.875</c:v>
                </c:pt>
                <c:pt idx="2642">
                  <c:v>0.9</c:v>
                </c:pt>
                <c:pt idx="2643">
                  <c:v>1</c:v>
                </c:pt>
                <c:pt idx="2644">
                  <c:v>1</c:v>
                </c:pt>
                <c:pt idx="2645">
                  <c:v>1</c:v>
                </c:pt>
                <c:pt idx="2646">
                  <c:v>1</c:v>
                </c:pt>
                <c:pt idx="2647">
                  <c:v>1</c:v>
                </c:pt>
                <c:pt idx="2648">
                  <c:v>1</c:v>
                </c:pt>
                <c:pt idx="2649">
                  <c:v>1</c:v>
                </c:pt>
                <c:pt idx="2650">
                  <c:v>1</c:v>
                </c:pt>
                <c:pt idx="2651">
                  <c:v>1</c:v>
                </c:pt>
                <c:pt idx="2652">
                  <c:v>1</c:v>
                </c:pt>
                <c:pt idx="2653">
                  <c:v>1</c:v>
                </c:pt>
                <c:pt idx="2654">
                  <c:v>1</c:v>
                </c:pt>
                <c:pt idx="2655">
                  <c:v>1</c:v>
                </c:pt>
                <c:pt idx="2656">
                  <c:v>1</c:v>
                </c:pt>
                <c:pt idx="2657">
                  <c:v>1</c:v>
                </c:pt>
                <c:pt idx="2658">
                  <c:v>1</c:v>
                </c:pt>
                <c:pt idx="2659">
                  <c:v>1</c:v>
                </c:pt>
                <c:pt idx="2660">
                  <c:v>1</c:v>
                </c:pt>
                <c:pt idx="2661">
                  <c:v>1</c:v>
                </c:pt>
                <c:pt idx="2662">
                  <c:v>1</c:v>
                </c:pt>
                <c:pt idx="2663">
                  <c:v>1</c:v>
                </c:pt>
                <c:pt idx="2664">
                  <c:v>1</c:v>
                </c:pt>
                <c:pt idx="2665">
                  <c:v>1</c:v>
                </c:pt>
                <c:pt idx="2666">
                  <c:v>1</c:v>
                </c:pt>
                <c:pt idx="2667">
                  <c:v>1</c:v>
                </c:pt>
                <c:pt idx="2668">
                  <c:v>1</c:v>
                </c:pt>
                <c:pt idx="2669">
                  <c:v>1</c:v>
                </c:pt>
                <c:pt idx="2670">
                  <c:v>0.8</c:v>
                </c:pt>
                <c:pt idx="2671">
                  <c:v>1</c:v>
                </c:pt>
                <c:pt idx="2672">
                  <c:v>1</c:v>
                </c:pt>
                <c:pt idx="2673">
                  <c:v>1</c:v>
                </c:pt>
                <c:pt idx="2674">
                  <c:v>1</c:v>
                </c:pt>
                <c:pt idx="2675">
                  <c:v>1</c:v>
                </c:pt>
                <c:pt idx="2676">
                  <c:v>0.83333000000000002</c:v>
                </c:pt>
                <c:pt idx="2677">
                  <c:v>1</c:v>
                </c:pt>
                <c:pt idx="2678">
                  <c:v>1</c:v>
                </c:pt>
                <c:pt idx="2679">
                  <c:v>1</c:v>
                </c:pt>
                <c:pt idx="2680">
                  <c:v>1</c:v>
                </c:pt>
                <c:pt idx="2681">
                  <c:v>1</c:v>
                </c:pt>
                <c:pt idx="2682">
                  <c:v>0.88888999999999996</c:v>
                </c:pt>
                <c:pt idx="2683">
                  <c:v>1</c:v>
                </c:pt>
                <c:pt idx="2684">
                  <c:v>1</c:v>
                </c:pt>
                <c:pt idx="2685">
                  <c:v>1</c:v>
                </c:pt>
                <c:pt idx="2686">
                  <c:v>1</c:v>
                </c:pt>
                <c:pt idx="2687">
                  <c:v>1</c:v>
                </c:pt>
                <c:pt idx="2688">
                  <c:v>1</c:v>
                </c:pt>
                <c:pt idx="2689">
                  <c:v>1</c:v>
                </c:pt>
                <c:pt idx="2690">
                  <c:v>1</c:v>
                </c:pt>
                <c:pt idx="2691">
                  <c:v>1</c:v>
                </c:pt>
                <c:pt idx="2692">
                  <c:v>1</c:v>
                </c:pt>
                <c:pt idx="2693">
                  <c:v>1</c:v>
                </c:pt>
                <c:pt idx="2694">
                  <c:v>1</c:v>
                </c:pt>
                <c:pt idx="2695">
                  <c:v>1</c:v>
                </c:pt>
                <c:pt idx="2696">
                  <c:v>1</c:v>
                </c:pt>
                <c:pt idx="2697">
                  <c:v>1</c:v>
                </c:pt>
                <c:pt idx="2698">
                  <c:v>1</c:v>
                </c:pt>
                <c:pt idx="2699">
                  <c:v>1</c:v>
                </c:pt>
                <c:pt idx="2700">
                  <c:v>1</c:v>
                </c:pt>
                <c:pt idx="2701">
                  <c:v>1</c:v>
                </c:pt>
                <c:pt idx="2702">
                  <c:v>1</c:v>
                </c:pt>
                <c:pt idx="2703">
                  <c:v>1</c:v>
                </c:pt>
                <c:pt idx="2704">
                  <c:v>0.66666999999999998</c:v>
                </c:pt>
                <c:pt idx="2705">
                  <c:v>0</c:v>
                </c:pt>
                <c:pt idx="2706">
                  <c:v>1</c:v>
                </c:pt>
                <c:pt idx="2707">
                  <c:v>1</c:v>
                </c:pt>
                <c:pt idx="2708">
                  <c:v>1</c:v>
                </c:pt>
                <c:pt idx="2709">
                  <c:v>1</c:v>
                </c:pt>
                <c:pt idx="2710">
                  <c:v>1</c:v>
                </c:pt>
                <c:pt idx="2711">
                  <c:v>1</c:v>
                </c:pt>
                <c:pt idx="2712">
                  <c:v>1</c:v>
                </c:pt>
                <c:pt idx="2713">
                  <c:v>1</c:v>
                </c:pt>
                <c:pt idx="2714">
                  <c:v>0.8125</c:v>
                </c:pt>
                <c:pt idx="2715">
                  <c:v>1</c:v>
                </c:pt>
                <c:pt idx="2716">
                  <c:v>1</c:v>
                </c:pt>
                <c:pt idx="2717">
                  <c:v>1</c:v>
                </c:pt>
                <c:pt idx="2718">
                  <c:v>0.66666999999999998</c:v>
                </c:pt>
                <c:pt idx="2719">
                  <c:v>1</c:v>
                </c:pt>
                <c:pt idx="2720">
                  <c:v>0.85714000000000001</c:v>
                </c:pt>
                <c:pt idx="2721">
                  <c:v>1</c:v>
                </c:pt>
                <c:pt idx="2722">
                  <c:v>1</c:v>
                </c:pt>
                <c:pt idx="2723">
                  <c:v>1</c:v>
                </c:pt>
                <c:pt idx="2724">
                  <c:v>1</c:v>
                </c:pt>
                <c:pt idx="2725">
                  <c:v>1</c:v>
                </c:pt>
                <c:pt idx="2726">
                  <c:v>1</c:v>
                </c:pt>
                <c:pt idx="2727">
                  <c:v>1</c:v>
                </c:pt>
                <c:pt idx="2728">
                  <c:v>1</c:v>
                </c:pt>
                <c:pt idx="2729">
                  <c:v>1</c:v>
                </c:pt>
                <c:pt idx="2730">
                  <c:v>1</c:v>
                </c:pt>
                <c:pt idx="2731">
                  <c:v>1</c:v>
                </c:pt>
                <c:pt idx="2732">
                  <c:v>1</c:v>
                </c:pt>
                <c:pt idx="2733">
                  <c:v>0.8</c:v>
                </c:pt>
                <c:pt idx="2734">
                  <c:v>1</c:v>
                </c:pt>
                <c:pt idx="2735">
                  <c:v>1</c:v>
                </c:pt>
                <c:pt idx="2736">
                  <c:v>1</c:v>
                </c:pt>
                <c:pt idx="2737">
                  <c:v>1</c:v>
                </c:pt>
                <c:pt idx="2738">
                  <c:v>1</c:v>
                </c:pt>
                <c:pt idx="2739">
                  <c:v>1</c:v>
                </c:pt>
                <c:pt idx="2740">
                  <c:v>0.5</c:v>
                </c:pt>
                <c:pt idx="2741">
                  <c:v>1</c:v>
                </c:pt>
                <c:pt idx="2742">
                  <c:v>1</c:v>
                </c:pt>
                <c:pt idx="2743">
                  <c:v>1</c:v>
                </c:pt>
                <c:pt idx="2744">
                  <c:v>1</c:v>
                </c:pt>
                <c:pt idx="2745">
                  <c:v>1</c:v>
                </c:pt>
                <c:pt idx="2746">
                  <c:v>0.75</c:v>
                </c:pt>
                <c:pt idx="2747">
                  <c:v>0.75</c:v>
                </c:pt>
                <c:pt idx="2748">
                  <c:v>1</c:v>
                </c:pt>
                <c:pt idx="2749">
                  <c:v>1</c:v>
                </c:pt>
                <c:pt idx="2750">
                  <c:v>1</c:v>
                </c:pt>
                <c:pt idx="2751">
                  <c:v>1</c:v>
                </c:pt>
                <c:pt idx="2752">
                  <c:v>1</c:v>
                </c:pt>
                <c:pt idx="2753">
                  <c:v>1</c:v>
                </c:pt>
                <c:pt idx="2754">
                  <c:v>1</c:v>
                </c:pt>
                <c:pt idx="2755">
                  <c:v>1</c:v>
                </c:pt>
                <c:pt idx="2756">
                  <c:v>1</c:v>
                </c:pt>
                <c:pt idx="2757">
                  <c:v>1</c:v>
                </c:pt>
                <c:pt idx="2758">
                  <c:v>1</c:v>
                </c:pt>
                <c:pt idx="2759">
                  <c:v>1</c:v>
                </c:pt>
                <c:pt idx="2760">
                  <c:v>1</c:v>
                </c:pt>
                <c:pt idx="2761">
                  <c:v>1</c:v>
                </c:pt>
                <c:pt idx="2762">
                  <c:v>1</c:v>
                </c:pt>
                <c:pt idx="2763">
                  <c:v>1</c:v>
                </c:pt>
                <c:pt idx="2764">
                  <c:v>1</c:v>
                </c:pt>
                <c:pt idx="2765">
                  <c:v>1</c:v>
                </c:pt>
                <c:pt idx="2766">
                  <c:v>1</c:v>
                </c:pt>
                <c:pt idx="2767">
                  <c:v>1</c:v>
                </c:pt>
                <c:pt idx="2768">
                  <c:v>1</c:v>
                </c:pt>
                <c:pt idx="2769">
                  <c:v>1</c:v>
                </c:pt>
                <c:pt idx="2770">
                  <c:v>1</c:v>
                </c:pt>
                <c:pt idx="2771">
                  <c:v>1</c:v>
                </c:pt>
                <c:pt idx="2772">
                  <c:v>1</c:v>
                </c:pt>
                <c:pt idx="2773">
                  <c:v>1</c:v>
                </c:pt>
                <c:pt idx="2774">
                  <c:v>1</c:v>
                </c:pt>
                <c:pt idx="2775">
                  <c:v>1</c:v>
                </c:pt>
                <c:pt idx="2776">
                  <c:v>1</c:v>
                </c:pt>
                <c:pt idx="2777">
                  <c:v>1</c:v>
                </c:pt>
                <c:pt idx="2778">
                  <c:v>1</c:v>
                </c:pt>
                <c:pt idx="2779">
                  <c:v>1</c:v>
                </c:pt>
                <c:pt idx="2780">
                  <c:v>1</c:v>
                </c:pt>
                <c:pt idx="2781">
                  <c:v>1</c:v>
                </c:pt>
                <c:pt idx="2782">
                  <c:v>1</c:v>
                </c:pt>
                <c:pt idx="2783">
                  <c:v>1</c:v>
                </c:pt>
                <c:pt idx="2784">
                  <c:v>1</c:v>
                </c:pt>
                <c:pt idx="2785">
                  <c:v>1</c:v>
                </c:pt>
                <c:pt idx="2786">
                  <c:v>1</c:v>
                </c:pt>
                <c:pt idx="2787">
                  <c:v>1</c:v>
                </c:pt>
                <c:pt idx="2788">
                  <c:v>1</c:v>
                </c:pt>
                <c:pt idx="2789">
                  <c:v>1</c:v>
                </c:pt>
                <c:pt idx="2790">
                  <c:v>1</c:v>
                </c:pt>
                <c:pt idx="2791">
                  <c:v>1</c:v>
                </c:pt>
                <c:pt idx="2792">
                  <c:v>1</c:v>
                </c:pt>
                <c:pt idx="2793">
                  <c:v>1</c:v>
                </c:pt>
                <c:pt idx="2794">
                  <c:v>1</c:v>
                </c:pt>
                <c:pt idx="2795">
                  <c:v>1</c:v>
                </c:pt>
                <c:pt idx="2796">
                  <c:v>0.8</c:v>
                </c:pt>
                <c:pt idx="2797">
                  <c:v>1</c:v>
                </c:pt>
                <c:pt idx="2798">
                  <c:v>1</c:v>
                </c:pt>
                <c:pt idx="2799">
                  <c:v>1</c:v>
                </c:pt>
                <c:pt idx="2800">
                  <c:v>1</c:v>
                </c:pt>
                <c:pt idx="2801">
                  <c:v>1</c:v>
                </c:pt>
                <c:pt idx="2802">
                  <c:v>1</c:v>
                </c:pt>
                <c:pt idx="2803">
                  <c:v>1</c:v>
                </c:pt>
                <c:pt idx="2804">
                  <c:v>1</c:v>
                </c:pt>
                <c:pt idx="2805">
                  <c:v>1</c:v>
                </c:pt>
                <c:pt idx="2806">
                  <c:v>1</c:v>
                </c:pt>
                <c:pt idx="2807">
                  <c:v>1</c:v>
                </c:pt>
                <c:pt idx="2808">
                  <c:v>0.5</c:v>
                </c:pt>
                <c:pt idx="2809">
                  <c:v>1</c:v>
                </c:pt>
                <c:pt idx="2810">
                  <c:v>1</c:v>
                </c:pt>
                <c:pt idx="2811">
                  <c:v>1</c:v>
                </c:pt>
                <c:pt idx="2812">
                  <c:v>1</c:v>
                </c:pt>
                <c:pt idx="2813">
                  <c:v>1</c:v>
                </c:pt>
                <c:pt idx="2814">
                  <c:v>1</c:v>
                </c:pt>
                <c:pt idx="2815">
                  <c:v>1</c:v>
                </c:pt>
                <c:pt idx="2816">
                  <c:v>1</c:v>
                </c:pt>
                <c:pt idx="2817">
                  <c:v>1</c:v>
                </c:pt>
                <c:pt idx="2818">
                  <c:v>1</c:v>
                </c:pt>
                <c:pt idx="2819">
                  <c:v>1</c:v>
                </c:pt>
                <c:pt idx="2820">
                  <c:v>0</c:v>
                </c:pt>
                <c:pt idx="2821">
                  <c:v>1</c:v>
                </c:pt>
                <c:pt idx="2822">
                  <c:v>1</c:v>
                </c:pt>
                <c:pt idx="2823">
                  <c:v>1</c:v>
                </c:pt>
                <c:pt idx="2824">
                  <c:v>1</c:v>
                </c:pt>
                <c:pt idx="2825">
                  <c:v>1</c:v>
                </c:pt>
                <c:pt idx="2826">
                  <c:v>1</c:v>
                </c:pt>
                <c:pt idx="2827">
                  <c:v>1</c:v>
                </c:pt>
                <c:pt idx="2828">
                  <c:v>1</c:v>
                </c:pt>
                <c:pt idx="2829">
                  <c:v>1</c:v>
                </c:pt>
                <c:pt idx="2830">
                  <c:v>1</c:v>
                </c:pt>
                <c:pt idx="2831">
                  <c:v>1</c:v>
                </c:pt>
                <c:pt idx="2832">
                  <c:v>1</c:v>
                </c:pt>
                <c:pt idx="2833">
                  <c:v>1</c:v>
                </c:pt>
                <c:pt idx="2834">
                  <c:v>1</c:v>
                </c:pt>
                <c:pt idx="2835">
                  <c:v>1</c:v>
                </c:pt>
                <c:pt idx="2836">
                  <c:v>1</c:v>
                </c:pt>
                <c:pt idx="2837">
                  <c:v>0.75</c:v>
                </c:pt>
                <c:pt idx="2838">
                  <c:v>1</c:v>
                </c:pt>
                <c:pt idx="2839">
                  <c:v>1</c:v>
                </c:pt>
                <c:pt idx="2840">
                  <c:v>1</c:v>
                </c:pt>
                <c:pt idx="2841">
                  <c:v>1</c:v>
                </c:pt>
                <c:pt idx="2842">
                  <c:v>1</c:v>
                </c:pt>
                <c:pt idx="2843">
                  <c:v>1</c:v>
                </c:pt>
                <c:pt idx="2844">
                  <c:v>1</c:v>
                </c:pt>
                <c:pt idx="2845">
                  <c:v>1</c:v>
                </c:pt>
                <c:pt idx="2846">
                  <c:v>1</c:v>
                </c:pt>
                <c:pt idx="2847">
                  <c:v>1</c:v>
                </c:pt>
                <c:pt idx="2848">
                  <c:v>1</c:v>
                </c:pt>
                <c:pt idx="2849">
                  <c:v>1</c:v>
                </c:pt>
                <c:pt idx="2850">
                  <c:v>1</c:v>
                </c:pt>
                <c:pt idx="2851">
                  <c:v>1</c:v>
                </c:pt>
                <c:pt idx="2852">
                  <c:v>1</c:v>
                </c:pt>
                <c:pt idx="2853">
                  <c:v>1</c:v>
                </c:pt>
                <c:pt idx="2854">
                  <c:v>1</c:v>
                </c:pt>
                <c:pt idx="2855">
                  <c:v>1</c:v>
                </c:pt>
                <c:pt idx="2856">
                  <c:v>1</c:v>
                </c:pt>
                <c:pt idx="2857">
                  <c:v>1</c:v>
                </c:pt>
                <c:pt idx="2858">
                  <c:v>1</c:v>
                </c:pt>
                <c:pt idx="2859">
                  <c:v>1</c:v>
                </c:pt>
                <c:pt idx="2860">
                  <c:v>1</c:v>
                </c:pt>
                <c:pt idx="2861">
                  <c:v>1</c:v>
                </c:pt>
                <c:pt idx="2862">
                  <c:v>1</c:v>
                </c:pt>
                <c:pt idx="2863">
                  <c:v>1</c:v>
                </c:pt>
                <c:pt idx="2864">
                  <c:v>1</c:v>
                </c:pt>
                <c:pt idx="2865">
                  <c:v>0.5</c:v>
                </c:pt>
                <c:pt idx="2866">
                  <c:v>1</c:v>
                </c:pt>
                <c:pt idx="2867">
                  <c:v>1</c:v>
                </c:pt>
                <c:pt idx="2868">
                  <c:v>1</c:v>
                </c:pt>
                <c:pt idx="2869">
                  <c:v>1</c:v>
                </c:pt>
                <c:pt idx="2870">
                  <c:v>1</c:v>
                </c:pt>
                <c:pt idx="2871">
                  <c:v>1</c:v>
                </c:pt>
                <c:pt idx="2872">
                  <c:v>1</c:v>
                </c:pt>
                <c:pt idx="2873">
                  <c:v>1</c:v>
                </c:pt>
                <c:pt idx="2874">
                  <c:v>1</c:v>
                </c:pt>
                <c:pt idx="2875">
                  <c:v>1</c:v>
                </c:pt>
                <c:pt idx="2876">
                  <c:v>1</c:v>
                </c:pt>
                <c:pt idx="2877">
                  <c:v>1</c:v>
                </c:pt>
                <c:pt idx="2878">
                  <c:v>1</c:v>
                </c:pt>
                <c:pt idx="2879">
                  <c:v>1</c:v>
                </c:pt>
                <c:pt idx="2880">
                  <c:v>1</c:v>
                </c:pt>
                <c:pt idx="2881">
                  <c:v>1</c:v>
                </c:pt>
                <c:pt idx="2882">
                  <c:v>1</c:v>
                </c:pt>
                <c:pt idx="2883">
                  <c:v>1</c:v>
                </c:pt>
                <c:pt idx="2884">
                  <c:v>1</c:v>
                </c:pt>
                <c:pt idx="2885">
                  <c:v>1</c:v>
                </c:pt>
                <c:pt idx="2886">
                  <c:v>1</c:v>
                </c:pt>
                <c:pt idx="2887">
                  <c:v>1</c:v>
                </c:pt>
                <c:pt idx="2888">
                  <c:v>1</c:v>
                </c:pt>
                <c:pt idx="2889">
                  <c:v>1</c:v>
                </c:pt>
                <c:pt idx="2890">
                  <c:v>1</c:v>
                </c:pt>
                <c:pt idx="2891">
                  <c:v>1</c:v>
                </c:pt>
                <c:pt idx="2892">
                  <c:v>1</c:v>
                </c:pt>
                <c:pt idx="2893">
                  <c:v>1</c:v>
                </c:pt>
                <c:pt idx="2894">
                  <c:v>1</c:v>
                </c:pt>
                <c:pt idx="2895">
                  <c:v>1</c:v>
                </c:pt>
                <c:pt idx="2896">
                  <c:v>1</c:v>
                </c:pt>
                <c:pt idx="2897">
                  <c:v>1</c:v>
                </c:pt>
                <c:pt idx="2898">
                  <c:v>1</c:v>
                </c:pt>
                <c:pt idx="2899">
                  <c:v>1</c:v>
                </c:pt>
                <c:pt idx="2900">
                  <c:v>1</c:v>
                </c:pt>
                <c:pt idx="2901">
                  <c:v>1</c:v>
                </c:pt>
                <c:pt idx="2902">
                  <c:v>1</c:v>
                </c:pt>
                <c:pt idx="2903">
                  <c:v>1</c:v>
                </c:pt>
                <c:pt idx="2904">
                  <c:v>1</c:v>
                </c:pt>
                <c:pt idx="2905">
                  <c:v>1</c:v>
                </c:pt>
                <c:pt idx="2906">
                  <c:v>1</c:v>
                </c:pt>
                <c:pt idx="2907">
                  <c:v>1</c:v>
                </c:pt>
                <c:pt idx="2908">
                  <c:v>1</c:v>
                </c:pt>
                <c:pt idx="2909">
                  <c:v>1</c:v>
                </c:pt>
              </c:numCache>
            </c:numRef>
          </c:yVal>
          <c:smooth val="0"/>
          <c:extLst>
            <c:ext xmlns:c16="http://schemas.microsoft.com/office/drawing/2014/chart" uri="{C3380CC4-5D6E-409C-BE32-E72D297353CC}">
              <c16:uniqueId val="{00000000-D1B2-4A62-822D-9DE04906E2E5}"/>
            </c:ext>
          </c:extLst>
        </c:ser>
        <c:ser>
          <c:idx val="1"/>
          <c:order val="1"/>
          <c:tx>
            <c:strRef>
              <c:f>Sheet1!$C$1</c:f>
              <c:strCache>
                <c:ptCount val="1"/>
              </c:strCache>
            </c:strRef>
          </c:tx>
          <c:spPr>
            <a:ln w="25400" cap="rnd">
              <a:noFill/>
              <a:round/>
            </a:ln>
            <a:effectLst/>
          </c:spPr>
          <c:marker>
            <c:symbol val="diamond"/>
            <c:size val="2"/>
            <c:spPr>
              <a:solidFill>
                <a:srgbClr val="FF6327"/>
              </a:solidFill>
              <a:ln w="9525">
                <a:noFill/>
              </a:ln>
              <a:effectLst/>
            </c:spPr>
          </c:marker>
          <c:xVal>
            <c:numRef>
              <c:f>Sheet1!$A$2:$A$2914</c:f>
              <c:numCache>
                <c:formatCode>General</c:formatCode>
                <c:ptCount val="2913"/>
                <c:pt idx="0">
                  <c:v>-1848</c:v>
                </c:pt>
                <c:pt idx="1">
                  <c:v>-1817</c:v>
                </c:pt>
                <c:pt idx="2">
                  <c:v>-1761</c:v>
                </c:pt>
                <c:pt idx="3">
                  <c:v>-1754</c:v>
                </c:pt>
                <c:pt idx="4">
                  <c:v>-1752</c:v>
                </c:pt>
                <c:pt idx="5">
                  <c:v>-1750</c:v>
                </c:pt>
                <c:pt idx="6">
                  <c:v>-1745</c:v>
                </c:pt>
                <c:pt idx="7">
                  <c:v>-1744</c:v>
                </c:pt>
                <c:pt idx="8">
                  <c:v>-1736</c:v>
                </c:pt>
                <c:pt idx="9">
                  <c:v>-1731</c:v>
                </c:pt>
                <c:pt idx="10">
                  <c:v>-1727</c:v>
                </c:pt>
                <c:pt idx="11">
                  <c:v>-1714</c:v>
                </c:pt>
                <c:pt idx="12">
                  <c:v>-1707</c:v>
                </c:pt>
                <c:pt idx="13">
                  <c:v>-1694</c:v>
                </c:pt>
                <c:pt idx="14">
                  <c:v>-1659</c:v>
                </c:pt>
                <c:pt idx="15">
                  <c:v>-1652</c:v>
                </c:pt>
                <c:pt idx="16">
                  <c:v>-1632</c:v>
                </c:pt>
                <c:pt idx="17">
                  <c:v>-1625</c:v>
                </c:pt>
                <c:pt idx="18">
                  <c:v>-1622</c:v>
                </c:pt>
                <c:pt idx="19">
                  <c:v>-1621</c:v>
                </c:pt>
                <c:pt idx="20">
                  <c:v>-1614</c:v>
                </c:pt>
                <c:pt idx="21">
                  <c:v>-1611</c:v>
                </c:pt>
                <c:pt idx="22">
                  <c:v>-1597</c:v>
                </c:pt>
                <c:pt idx="23">
                  <c:v>-1596</c:v>
                </c:pt>
                <c:pt idx="24">
                  <c:v>-1591</c:v>
                </c:pt>
                <c:pt idx="25">
                  <c:v>-1584</c:v>
                </c:pt>
                <c:pt idx="26">
                  <c:v>-1579</c:v>
                </c:pt>
                <c:pt idx="27">
                  <c:v>-1578</c:v>
                </c:pt>
                <c:pt idx="28">
                  <c:v>-1574</c:v>
                </c:pt>
                <c:pt idx="29">
                  <c:v>-1567</c:v>
                </c:pt>
                <c:pt idx="30">
                  <c:v>-1563</c:v>
                </c:pt>
                <c:pt idx="31">
                  <c:v>-1551</c:v>
                </c:pt>
                <c:pt idx="32">
                  <c:v>-1545</c:v>
                </c:pt>
                <c:pt idx="33">
                  <c:v>-1542</c:v>
                </c:pt>
                <c:pt idx="34">
                  <c:v>-1539</c:v>
                </c:pt>
                <c:pt idx="35">
                  <c:v>-1535</c:v>
                </c:pt>
                <c:pt idx="36">
                  <c:v>-1521</c:v>
                </c:pt>
                <c:pt idx="37">
                  <c:v>-1519</c:v>
                </c:pt>
                <c:pt idx="38">
                  <c:v>-1513</c:v>
                </c:pt>
                <c:pt idx="39">
                  <c:v>-1511</c:v>
                </c:pt>
                <c:pt idx="40">
                  <c:v>-1510</c:v>
                </c:pt>
                <c:pt idx="41">
                  <c:v>-1507</c:v>
                </c:pt>
                <c:pt idx="42">
                  <c:v>-1505</c:v>
                </c:pt>
                <c:pt idx="43">
                  <c:v>-1504</c:v>
                </c:pt>
                <c:pt idx="44">
                  <c:v>-1502</c:v>
                </c:pt>
                <c:pt idx="45">
                  <c:v>-1501</c:v>
                </c:pt>
                <c:pt idx="46">
                  <c:v>-1499</c:v>
                </c:pt>
                <c:pt idx="47">
                  <c:v>-1498</c:v>
                </c:pt>
                <c:pt idx="48">
                  <c:v>-1496</c:v>
                </c:pt>
                <c:pt idx="49">
                  <c:v>-1492</c:v>
                </c:pt>
                <c:pt idx="50">
                  <c:v>-1489</c:v>
                </c:pt>
                <c:pt idx="51">
                  <c:v>-1488</c:v>
                </c:pt>
                <c:pt idx="52">
                  <c:v>-1486</c:v>
                </c:pt>
                <c:pt idx="53">
                  <c:v>-1485</c:v>
                </c:pt>
                <c:pt idx="54">
                  <c:v>-1478</c:v>
                </c:pt>
                <c:pt idx="55">
                  <c:v>-1476</c:v>
                </c:pt>
                <c:pt idx="56">
                  <c:v>-1475</c:v>
                </c:pt>
                <c:pt idx="57">
                  <c:v>-1472</c:v>
                </c:pt>
                <c:pt idx="58">
                  <c:v>-1470</c:v>
                </c:pt>
                <c:pt idx="59">
                  <c:v>-1467</c:v>
                </c:pt>
                <c:pt idx="60">
                  <c:v>-1465</c:v>
                </c:pt>
                <c:pt idx="61">
                  <c:v>-1459</c:v>
                </c:pt>
                <c:pt idx="62">
                  <c:v>-1455</c:v>
                </c:pt>
                <c:pt idx="63">
                  <c:v>-1454</c:v>
                </c:pt>
                <c:pt idx="64">
                  <c:v>-1451</c:v>
                </c:pt>
                <c:pt idx="65">
                  <c:v>-1449</c:v>
                </c:pt>
                <c:pt idx="66">
                  <c:v>-1446</c:v>
                </c:pt>
                <c:pt idx="67">
                  <c:v>-1442</c:v>
                </c:pt>
                <c:pt idx="68">
                  <c:v>-1441</c:v>
                </c:pt>
                <c:pt idx="69">
                  <c:v>-1440</c:v>
                </c:pt>
                <c:pt idx="70">
                  <c:v>-1436</c:v>
                </c:pt>
                <c:pt idx="71">
                  <c:v>-1435</c:v>
                </c:pt>
                <c:pt idx="72">
                  <c:v>-1432</c:v>
                </c:pt>
                <c:pt idx="73">
                  <c:v>-1428</c:v>
                </c:pt>
                <c:pt idx="74">
                  <c:v>-1425</c:v>
                </c:pt>
                <c:pt idx="75">
                  <c:v>-1424</c:v>
                </c:pt>
                <c:pt idx="76">
                  <c:v>-1423</c:v>
                </c:pt>
                <c:pt idx="77">
                  <c:v>-1420</c:v>
                </c:pt>
                <c:pt idx="78">
                  <c:v>-1418</c:v>
                </c:pt>
                <c:pt idx="79">
                  <c:v>-1417</c:v>
                </c:pt>
                <c:pt idx="80">
                  <c:v>-1416</c:v>
                </c:pt>
                <c:pt idx="81">
                  <c:v>-1415</c:v>
                </c:pt>
                <c:pt idx="82">
                  <c:v>-1414</c:v>
                </c:pt>
                <c:pt idx="83">
                  <c:v>-1413</c:v>
                </c:pt>
                <c:pt idx="84">
                  <c:v>-1410</c:v>
                </c:pt>
                <c:pt idx="85">
                  <c:v>-1409</c:v>
                </c:pt>
                <c:pt idx="86">
                  <c:v>-1403</c:v>
                </c:pt>
                <c:pt idx="87">
                  <c:v>-1402</c:v>
                </c:pt>
                <c:pt idx="88">
                  <c:v>-1401</c:v>
                </c:pt>
                <c:pt idx="89">
                  <c:v>-1399</c:v>
                </c:pt>
                <c:pt idx="90">
                  <c:v>-1398</c:v>
                </c:pt>
                <c:pt idx="91">
                  <c:v>-1397</c:v>
                </c:pt>
                <c:pt idx="92">
                  <c:v>-1392</c:v>
                </c:pt>
                <c:pt idx="93">
                  <c:v>-1388</c:v>
                </c:pt>
                <c:pt idx="94">
                  <c:v>-1387</c:v>
                </c:pt>
                <c:pt idx="95">
                  <c:v>-1386</c:v>
                </c:pt>
                <c:pt idx="96">
                  <c:v>-1385</c:v>
                </c:pt>
                <c:pt idx="97">
                  <c:v>-1384</c:v>
                </c:pt>
                <c:pt idx="98">
                  <c:v>-1381</c:v>
                </c:pt>
                <c:pt idx="99">
                  <c:v>-1380</c:v>
                </c:pt>
                <c:pt idx="100">
                  <c:v>-1379</c:v>
                </c:pt>
                <c:pt idx="101">
                  <c:v>-1377</c:v>
                </c:pt>
                <c:pt idx="102">
                  <c:v>-1376</c:v>
                </c:pt>
                <c:pt idx="103">
                  <c:v>-1375</c:v>
                </c:pt>
                <c:pt idx="104">
                  <c:v>-1374</c:v>
                </c:pt>
                <c:pt idx="105">
                  <c:v>-1373</c:v>
                </c:pt>
                <c:pt idx="106">
                  <c:v>-1372</c:v>
                </c:pt>
                <c:pt idx="107">
                  <c:v>-1371</c:v>
                </c:pt>
                <c:pt idx="108">
                  <c:v>-1370</c:v>
                </c:pt>
                <c:pt idx="109">
                  <c:v>-1369</c:v>
                </c:pt>
                <c:pt idx="110">
                  <c:v>-1367</c:v>
                </c:pt>
                <c:pt idx="111">
                  <c:v>-1366</c:v>
                </c:pt>
                <c:pt idx="112">
                  <c:v>-1364</c:v>
                </c:pt>
                <c:pt idx="113">
                  <c:v>-1362</c:v>
                </c:pt>
                <c:pt idx="114">
                  <c:v>-1359</c:v>
                </c:pt>
                <c:pt idx="115">
                  <c:v>-1358</c:v>
                </c:pt>
                <c:pt idx="116">
                  <c:v>-1356</c:v>
                </c:pt>
                <c:pt idx="117">
                  <c:v>-1355</c:v>
                </c:pt>
                <c:pt idx="118">
                  <c:v>-1354</c:v>
                </c:pt>
                <c:pt idx="119">
                  <c:v>-1353</c:v>
                </c:pt>
                <c:pt idx="120">
                  <c:v>-1352</c:v>
                </c:pt>
                <c:pt idx="121">
                  <c:v>-1351</c:v>
                </c:pt>
                <c:pt idx="122">
                  <c:v>-1350</c:v>
                </c:pt>
                <c:pt idx="123">
                  <c:v>-1349</c:v>
                </c:pt>
                <c:pt idx="124">
                  <c:v>-1348</c:v>
                </c:pt>
                <c:pt idx="125">
                  <c:v>-1347</c:v>
                </c:pt>
                <c:pt idx="126">
                  <c:v>-1346</c:v>
                </c:pt>
                <c:pt idx="127">
                  <c:v>-1345</c:v>
                </c:pt>
                <c:pt idx="128">
                  <c:v>-1343</c:v>
                </c:pt>
                <c:pt idx="129">
                  <c:v>-1342</c:v>
                </c:pt>
                <c:pt idx="130">
                  <c:v>-1341</c:v>
                </c:pt>
                <c:pt idx="131">
                  <c:v>-1340</c:v>
                </c:pt>
                <c:pt idx="132">
                  <c:v>-1338</c:v>
                </c:pt>
                <c:pt idx="133">
                  <c:v>-1337</c:v>
                </c:pt>
                <c:pt idx="134">
                  <c:v>-1334</c:v>
                </c:pt>
                <c:pt idx="135">
                  <c:v>-1333</c:v>
                </c:pt>
                <c:pt idx="136">
                  <c:v>-1332</c:v>
                </c:pt>
                <c:pt idx="137">
                  <c:v>-1331</c:v>
                </c:pt>
                <c:pt idx="138">
                  <c:v>-1330</c:v>
                </c:pt>
                <c:pt idx="139">
                  <c:v>-1329</c:v>
                </c:pt>
                <c:pt idx="140">
                  <c:v>-1328</c:v>
                </c:pt>
                <c:pt idx="141">
                  <c:v>-1327</c:v>
                </c:pt>
                <c:pt idx="142">
                  <c:v>-1326</c:v>
                </c:pt>
                <c:pt idx="143">
                  <c:v>-1325</c:v>
                </c:pt>
                <c:pt idx="144">
                  <c:v>-1322</c:v>
                </c:pt>
                <c:pt idx="145">
                  <c:v>-1321</c:v>
                </c:pt>
                <c:pt idx="146">
                  <c:v>-1320</c:v>
                </c:pt>
                <c:pt idx="147">
                  <c:v>-1319</c:v>
                </c:pt>
                <c:pt idx="148">
                  <c:v>-1318</c:v>
                </c:pt>
                <c:pt idx="149">
                  <c:v>-1317</c:v>
                </c:pt>
                <c:pt idx="150">
                  <c:v>-1315</c:v>
                </c:pt>
                <c:pt idx="151">
                  <c:v>-1313</c:v>
                </c:pt>
                <c:pt idx="152">
                  <c:v>-1311</c:v>
                </c:pt>
                <c:pt idx="153">
                  <c:v>-1310</c:v>
                </c:pt>
                <c:pt idx="154">
                  <c:v>-1309</c:v>
                </c:pt>
                <c:pt idx="155">
                  <c:v>-1308</c:v>
                </c:pt>
                <c:pt idx="156">
                  <c:v>-1307</c:v>
                </c:pt>
                <c:pt idx="157">
                  <c:v>-1306</c:v>
                </c:pt>
                <c:pt idx="158">
                  <c:v>-1305</c:v>
                </c:pt>
                <c:pt idx="159">
                  <c:v>-1303</c:v>
                </c:pt>
                <c:pt idx="160">
                  <c:v>-1302</c:v>
                </c:pt>
                <c:pt idx="161">
                  <c:v>-1301</c:v>
                </c:pt>
                <c:pt idx="162">
                  <c:v>-1300</c:v>
                </c:pt>
                <c:pt idx="163">
                  <c:v>-1299</c:v>
                </c:pt>
                <c:pt idx="164">
                  <c:v>-1298</c:v>
                </c:pt>
                <c:pt idx="165">
                  <c:v>-1297</c:v>
                </c:pt>
                <c:pt idx="166">
                  <c:v>-1296</c:v>
                </c:pt>
                <c:pt idx="167">
                  <c:v>-1295</c:v>
                </c:pt>
                <c:pt idx="168">
                  <c:v>-1294</c:v>
                </c:pt>
                <c:pt idx="169">
                  <c:v>-1293</c:v>
                </c:pt>
                <c:pt idx="170">
                  <c:v>-1292</c:v>
                </c:pt>
                <c:pt idx="171">
                  <c:v>-1291</c:v>
                </c:pt>
                <c:pt idx="172">
                  <c:v>-1290</c:v>
                </c:pt>
                <c:pt idx="173">
                  <c:v>-1289</c:v>
                </c:pt>
                <c:pt idx="174">
                  <c:v>-1288</c:v>
                </c:pt>
                <c:pt idx="175">
                  <c:v>-1287</c:v>
                </c:pt>
                <c:pt idx="176">
                  <c:v>-1286</c:v>
                </c:pt>
                <c:pt idx="177">
                  <c:v>-1285</c:v>
                </c:pt>
                <c:pt idx="178">
                  <c:v>-1284</c:v>
                </c:pt>
                <c:pt idx="179">
                  <c:v>-1283</c:v>
                </c:pt>
                <c:pt idx="180">
                  <c:v>-1282</c:v>
                </c:pt>
                <c:pt idx="181">
                  <c:v>-1281</c:v>
                </c:pt>
                <c:pt idx="182">
                  <c:v>-1280</c:v>
                </c:pt>
                <c:pt idx="183">
                  <c:v>-1279</c:v>
                </c:pt>
                <c:pt idx="184">
                  <c:v>-1278</c:v>
                </c:pt>
                <c:pt idx="185">
                  <c:v>-1277</c:v>
                </c:pt>
                <c:pt idx="186">
                  <c:v>-1276</c:v>
                </c:pt>
                <c:pt idx="187">
                  <c:v>-1275</c:v>
                </c:pt>
                <c:pt idx="188">
                  <c:v>-1274</c:v>
                </c:pt>
                <c:pt idx="189">
                  <c:v>-1273</c:v>
                </c:pt>
                <c:pt idx="190">
                  <c:v>-1272</c:v>
                </c:pt>
                <c:pt idx="191">
                  <c:v>-1271</c:v>
                </c:pt>
                <c:pt idx="192">
                  <c:v>-1270</c:v>
                </c:pt>
                <c:pt idx="193">
                  <c:v>-1269</c:v>
                </c:pt>
                <c:pt idx="194">
                  <c:v>-1268</c:v>
                </c:pt>
                <c:pt idx="195">
                  <c:v>-1267</c:v>
                </c:pt>
                <c:pt idx="196">
                  <c:v>-1266</c:v>
                </c:pt>
                <c:pt idx="197">
                  <c:v>-1265</c:v>
                </c:pt>
                <c:pt idx="198">
                  <c:v>-1264</c:v>
                </c:pt>
                <c:pt idx="199">
                  <c:v>-1263</c:v>
                </c:pt>
                <c:pt idx="200">
                  <c:v>-1262</c:v>
                </c:pt>
                <c:pt idx="201">
                  <c:v>-1261</c:v>
                </c:pt>
                <c:pt idx="202">
                  <c:v>-1260</c:v>
                </c:pt>
                <c:pt idx="203">
                  <c:v>-1259</c:v>
                </c:pt>
                <c:pt idx="204">
                  <c:v>-1258</c:v>
                </c:pt>
                <c:pt idx="205">
                  <c:v>-1257</c:v>
                </c:pt>
                <c:pt idx="206">
                  <c:v>-1256</c:v>
                </c:pt>
                <c:pt idx="207">
                  <c:v>-1255</c:v>
                </c:pt>
                <c:pt idx="208">
                  <c:v>-1254</c:v>
                </c:pt>
                <c:pt idx="209">
                  <c:v>-1253</c:v>
                </c:pt>
                <c:pt idx="210">
                  <c:v>-1252</c:v>
                </c:pt>
                <c:pt idx="211">
                  <c:v>-1251</c:v>
                </c:pt>
                <c:pt idx="212">
                  <c:v>-1250</c:v>
                </c:pt>
                <c:pt idx="213">
                  <c:v>-1249</c:v>
                </c:pt>
                <c:pt idx="214">
                  <c:v>-1248</c:v>
                </c:pt>
                <c:pt idx="215">
                  <c:v>-1247</c:v>
                </c:pt>
                <c:pt idx="216">
                  <c:v>-1246</c:v>
                </c:pt>
                <c:pt idx="217">
                  <c:v>-1245</c:v>
                </c:pt>
                <c:pt idx="218">
                  <c:v>-1244</c:v>
                </c:pt>
                <c:pt idx="219">
                  <c:v>-1243</c:v>
                </c:pt>
                <c:pt idx="220">
                  <c:v>-1242</c:v>
                </c:pt>
                <c:pt idx="221">
                  <c:v>-1241</c:v>
                </c:pt>
                <c:pt idx="222">
                  <c:v>-1240</c:v>
                </c:pt>
                <c:pt idx="223">
                  <c:v>-1239</c:v>
                </c:pt>
                <c:pt idx="224">
                  <c:v>-1238</c:v>
                </c:pt>
                <c:pt idx="225">
                  <c:v>-1237</c:v>
                </c:pt>
                <c:pt idx="226">
                  <c:v>-1236</c:v>
                </c:pt>
                <c:pt idx="227">
                  <c:v>-1235</c:v>
                </c:pt>
                <c:pt idx="228">
                  <c:v>-1234</c:v>
                </c:pt>
                <c:pt idx="229">
                  <c:v>-1233</c:v>
                </c:pt>
                <c:pt idx="230">
                  <c:v>-1232</c:v>
                </c:pt>
                <c:pt idx="231">
                  <c:v>-1231</c:v>
                </c:pt>
                <c:pt idx="232">
                  <c:v>-1230</c:v>
                </c:pt>
                <c:pt idx="233">
                  <c:v>-1229</c:v>
                </c:pt>
                <c:pt idx="234">
                  <c:v>-1228</c:v>
                </c:pt>
                <c:pt idx="235">
                  <c:v>-1227</c:v>
                </c:pt>
                <c:pt idx="236">
                  <c:v>-1226</c:v>
                </c:pt>
                <c:pt idx="237">
                  <c:v>-1225</c:v>
                </c:pt>
                <c:pt idx="238">
                  <c:v>-1224</c:v>
                </c:pt>
                <c:pt idx="239">
                  <c:v>-1223</c:v>
                </c:pt>
                <c:pt idx="240">
                  <c:v>-1222</c:v>
                </c:pt>
                <c:pt idx="241">
                  <c:v>-1221</c:v>
                </c:pt>
                <c:pt idx="242">
                  <c:v>-1220</c:v>
                </c:pt>
                <c:pt idx="243">
                  <c:v>-1219</c:v>
                </c:pt>
                <c:pt idx="244">
                  <c:v>-1218</c:v>
                </c:pt>
                <c:pt idx="245">
                  <c:v>-1217</c:v>
                </c:pt>
                <c:pt idx="246">
                  <c:v>-1216</c:v>
                </c:pt>
                <c:pt idx="247">
                  <c:v>-1215</c:v>
                </c:pt>
                <c:pt idx="248">
                  <c:v>-1214</c:v>
                </c:pt>
                <c:pt idx="249">
                  <c:v>-1213</c:v>
                </c:pt>
                <c:pt idx="250">
                  <c:v>-1212</c:v>
                </c:pt>
                <c:pt idx="251">
                  <c:v>-1211</c:v>
                </c:pt>
                <c:pt idx="252">
                  <c:v>-1210</c:v>
                </c:pt>
                <c:pt idx="253">
                  <c:v>-1209</c:v>
                </c:pt>
                <c:pt idx="254">
                  <c:v>-1206</c:v>
                </c:pt>
                <c:pt idx="255">
                  <c:v>-1205</c:v>
                </c:pt>
                <c:pt idx="256">
                  <c:v>-1204</c:v>
                </c:pt>
                <c:pt idx="257">
                  <c:v>-1203</c:v>
                </c:pt>
                <c:pt idx="258">
                  <c:v>-1202</c:v>
                </c:pt>
                <c:pt idx="259">
                  <c:v>-1201</c:v>
                </c:pt>
                <c:pt idx="260">
                  <c:v>-1200</c:v>
                </c:pt>
                <c:pt idx="261">
                  <c:v>-1199</c:v>
                </c:pt>
                <c:pt idx="262">
                  <c:v>-1198</c:v>
                </c:pt>
                <c:pt idx="263">
                  <c:v>-1197</c:v>
                </c:pt>
                <c:pt idx="264">
                  <c:v>-1196</c:v>
                </c:pt>
                <c:pt idx="265">
                  <c:v>-1195</c:v>
                </c:pt>
                <c:pt idx="266">
                  <c:v>-1194</c:v>
                </c:pt>
                <c:pt idx="267">
                  <c:v>-1193</c:v>
                </c:pt>
                <c:pt idx="268">
                  <c:v>-1192</c:v>
                </c:pt>
                <c:pt idx="269">
                  <c:v>-1191</c:v>
                </c:pt>
                <c:pt idx="270">
                  <c:v>-1190</c:v>
                </c:pt>
                <c:pt idx="271">
                  <c:v>-1189</c:v>
                </c:pt>
                <c:pt idx="272">
                  <c:v>-1188</c:v>
                </c:pt>
                <c:pt idx="273">
                  <c:v>-1187</c:v>
                </c:pt>
                <c:pt idx="274">
                  <c:v>-1186</c:v>
                </c:pt>
                <c:pt idx="275">
                  <c:v>-1185</c:v>
                </c:pt>
                <c:pt idx="276">
                  <c:v>-1184</c:v>
                </c:pt>
                <c:pt idx="277">
                  <c:v>-1183</c:v>
                </c:pt>
                <c:pt idx="278">
                  <c:v>-1182</c:v>
                </c:pt>
                <c:pt idx="279">
                  <c:v>-1181</c:v>
                </c:pt>
                <c:pt idx="280">
                  <c:v>-1180</c:v>
                </c:pt>
                <c:pt idx="281">
                  <c:v>-1179</c:v>
                </c:pt>
                <c:pt idx="282">
                  <c:v>-1178</c:v>
                </c:pt>
                <c:pt idx="283">
                  <c:v>-1177</c:v>
                </c:pt>
                <c:pt idx="284">
                  <c:v>-1176</c:v>
                </c:pt>
                <c:pt idx="285">
                  <c:v>-1175</c:v>
                </c:pt>
                <c:pt idx="286">
                  <c:v>-1174</c:v>
                </c:pt>
                <c:pt idx="287">
                  <c:v>-1173</c:v>
                </c:pt>
                <c:pt idx="288">
                  <c:v>-1172</c:v>
                </c:pt>
                <c:pt idx="289">
                  <c:v>-1171</c:v>
                </c:pt>
                <c:pt idx="290">
                  <c:v>-1170</c:v>
                </c:pt>
                <c:pt idx="291">
                  <c:v>-1169</c:v>
                </c:pt>
                <c:pt idx="292">
                  <c:v>-1168</c:v>
                </c:pt>
                <c:pt idx="293">
                  <c:v>-1167</c:v>
                </c:pt>
                <c:pt idx="294">
                  <c:v>-1166</c:v>
                </c:pt>
                <c:pt idx="295">
                  <c:v>-1165</c:v>
                </c:pt>
                <c:pt idx="296">
                  <c:v>-1164</c:v>
                </c:pt>
                <c:pt idx="297">
                  <c:v>-1163</c:v>
                </c:pt>
                <c:pt idx="298">
                  <c:v>-1162</c:v>
                </c:pt>
                <c:pt idx="299">
                  <c:v>-1161</c:v>
                </c:pt>
                <c:pt idx="300">
                  <c:v>-1160</c:v>
                </c:pt>
                <c:pt idx="301">
                  <c:v>-1159</c:v>
                </c:pt>
                <c:pt idx="302">
                  <c:v>-1158</c:v>
                </c:pt>
                <c:pt idx="303">
                  <c:v>-1157</c:v>
                </c:pt>
                <c:pt idx="304">
                  <c:v>-1156</c:v>
                </c:pt>
                <c:pt idx="305">
                  <c:v>-1155</c:v>
                </c:pt>
                <c:pt idx="306">
                  <c:v>-1154</c:v>
                </c:pt>
                <c:pt idx="307">
                  <c:v>-1153</c:v>
                </c:pt>
                <c:pt idx="308">
                  <c:v>-1152</c:v>
                </c:pt>
                <c:pt idx="309">
                  <c:v>-1151</c:v>
                </c:pt>
                <c:pt idx="310">
                  <c:v>-1150</c:v>
                </c:pt>
                <c:pt idx="311">
                  <c:v>-1149</c:v>
                </c:pt>
                <c:pt idx="312">
                  <c:v>-1148</c:v>
                </c:pt>
                <c:pt idx="313">
                  <c:v>-1147</c:v>
                </c:pt>
                <c:pt idx="314">
                  <c:v>-1146</c:v>
                </c:pt>
                <c:pt idx="315">
                  <c:v>-1145</c:v>
                </c:pt>
                <c:pt idx="316">
                  <c:v>-1144</c:v>
                </c:pt>
                <c:pt idx="317">
                  <c:v>-1143</c:v>
                </c:pt>
                <c:pt idx="318">
                  <c:v>-1142</c:v>
                </c:pt>
                <c:pt idx="319">
                  <c:v>-1141</c:v>
                </c:pt>
                <c:pt idx="320">
                  <c:v>-1140</c:v>
                </c:pt>
                <c:pt idx="321">
                  <c:v>-1139</c:v>
                </c:pt>
                <c:pt idx="322">
                  <c:v>-1138</c:v>
                </c:pt>
                <c:pt idx="323">
                  <c:v>-1137</c:v>
                </c:pt>
                <c:pt idx="324">
                  <c:v>-1136</c:v>
                </c:pt>
                <c:pt idx="325">
                  <c:v>-1135</c:v>
                </c:pt>
                <c:pt idx="326">
                  <c:v>-1134</c:v>
                </c:pt>
                <c:pt idx="327">
                  <c:v>-1133</c:v>
                </c:pt>
                <c:pt idx="328">
                  <c:v>-1132</c:v>
                </c:pt>
                <c:pt idx="329">
                  <c:v>-1131</c:v>
                </c:pt>
                <c:pt idx="330">
                  <c:v>-1130</c:v>
                </c:pt>
                <c:pt idx="331">
                  <c:v>-1129</c:v>
                </c:pt>
                <c:pt idx="332">
                  <c:v>-1128</c:v>
                </c:pt>
                <c:pt idx="333">
                  <c:v>-1127</c:v>
                </c:pt>
                <c:pt idx="334">
                  <c:v>-1126</c:v>
                </c:pt>
                <c:pt idx="335">
                  <c:v>-1125</c:v>
                </c:pt>
                <c:pt idx="336">
                  <c:v>-1124</c:v>
                </c:pt>
                <c:pt idx="337">
                  <c:v>-1123</c:v>
                </c:pt>
                <c:pt idx="338">
                  <c:v>-1122</c:v>
                </c:pt>
                <c:pt idx="339">
                  <c:v>-1121</c:v>
                </c:pt>
                <c:pt idx="340">
                  <c:v>-1120</c:v>
                </c:pt>
                <c:pt idx="341">
                  <c:v>-1119</c:v>
                </c:pt>
                <c:pt idx="342">
                  <c:v>-1118</c:v>
                </c:pt>
                <c:pt idx="343">
                  <c:v>-1117</c:v>
                </c:pt>
                <c:pt idx="344">
                  <c:v>-1116</c:v>
                </c:pt>
                <c:pt idx="345">
                  <c:v>-1115</c:v>
                </c:pt>
                <c:pt idx="346">
                  <c:v>-1114</c:v>
                </c:pt>
                <c:pt idx="347">
                  <c:v>-1113</c:v>
                </c:pt>
                <c:pt idx="348">
                  <c:v>-1112</c:v>
                </c:pt>
                <c:pt idx="349">
                  <c:v>-1111</c:v>
                </c:pt>
                <c:pt idx="350">
                  <c:v>-1110</c:v>
                </c:pt>
                <c:pt idx="351">
                  <c:v>-1109</c:v>
                </c:pt>
                <c:pt idx="352">
                  <c:v>-1108</c:v>
                </c:pt>
                <c:pt idx="353">
                  <c:v>-1107</c:v>
                </c:pt>
                <c:pt idx="354">
                  <c:v>-1106</c:v>
                </c:pt>
                <c:pt idx="355">
                  <c:v>-1105</c:v>
                </c:pt>
                <c:pt idx="356">
                  <c:v>-1104</c:v>
                </c:pt>
                <c:pt idx="357">
                  <c:v>-1103</c:v>
                </c:pt>
                <c:pt idx="358">
                  <c:v>-1102</c:v>
                </c:pt>
                <c:pt idx="359">
                  <c:v>-1101</c:v>
                </c:pt>
                <c:pt idx="360">
                  <c:v>-1100</c:v>
                </c:pt>
                <c:pt idx="361">
                  <c:v>-1099</c:v>
                </c:pt>
                <c:pt idx="362">
                  <c:v>-1098</c:v>
                </c:pt>
                <c:pt idx="363">
                  <c:v>-1097</c:v>
                </c:pt>
                <c:pt idx="364">
                  <c:v>-1096</c:v>
                </c:pt>
                <c:pt idx="365">
                  <c:v>-1095</c:v>
                </c:pt>
                <c:pt idx="366">
                  <c:v>-1094</c:v>
                </c:pt>
                <c:pt idx="367">
                  <c:v>-1093</c:v>
                </c:pt>
                <c:pt idx="368">
                  <c:v>-1092</c:v>
                </c:pt>
                <c:pt idx="369">
                  <c:v>-1091</c:v>
                </c:pt>
                <c:pt idx="370">
                  <c:v>-1090</c:v>
                </c:pt>
                <c:pt idx="371">
                  <c:v>-1089</c:v>
                </c:pt>
                <c:pt idx="372">
                  <c:v>-1088</c:v>
                </c:pt>
                <c:pt idx="373">
                  <c:v>-1087</c:v>
                </c:pt>
                <c:pt idx="374">
                  <c:v>-1086</c:v>
                </c:pt>
                <c:pt idx="375">
                  <c:v>-1085</c:v>
                </c:pt>
                <c:pt idx="376">
                  <c:v>-1084</c:v>
                </c:pt>
                <c:pt idx="377">
                  <c:v>-1083</c:v>
                </c:pt>
                <c:pt idx="378">
                  <c:v>-1082</c:v>
                </c:pt>
                <c:pt idx="379">
                  <c:v>-1081</c:v>
                </c:pt>
                <c:pt idx="380">
                  <c:v>-1080</c:v>
                </c:pt>
                <c:pt idx="381">
                  <c:v>-1079</c:v>
                </c:pt>
                <c:pt idx="382">
                  <c:v>-1078</c:v>
                </c:pt>
                <c:pt idx="383">
                  <c:v>-1077</c:v>
                </c:pt>
                <c:pt idx="384">
                  <c:v>-1076</c:v>
                </c:pt>
                <c:pt idx="385">
                  <c:v>-1075</c:v>
                </c:pt>
                <c:pt idx="386">
                  <c:v>-1074</c:v>
                </c:pt>
                <c:pt idx="387">
                  <c:v>-1073</c:v>
                </c:pt>
                <c:pt idx="388">
                  <c:v>-1072</c:v>
                </c:pt>
                <c:pt idx="389">
                  <c:v>-1071</c:v>
                </c:pt>
                <c:pt idx="390">
                  <c:v>-1070</c:v>
                </c:pt>
                <c:pt idx="391">
                  <c:v>-1069</c:v>
                </c:pt>
                <c:pt idx="392">
                  <c:v>-1068</c:v>
                </c:pt>
                <c:pt idx="393">
                  <c:v>-1067</c:v>
                </c:pt>
                <c:pt idx="394">
                  <c:v>-1066</c:v>
                </c:pt>
                <c:pt idx="395">
                  <c:v>-1065</c:v>
                </c:pt>
                <c:pt idx="396">
                  <c:v>-1064</c:v>
                </c:pt>
                <c:pt idx="397">
                  <c:v>-1063</c:v>
                </c:pt>
                <c:pt idx="398">
                  <c:v>-1062</c:v>
                </c:pt>
                <c:pt idx="399">
                  <c:v>-1061</c:v>
                </c:pt>
                <c:pt idx="400">
                  <c:v>-1060</c:v>
                </c:pt>
                <c:pt idx="401">
                  <c:v>-1059</c:v>
                </c:pt>
                <c:pt idx="402">
                  <c:v>-1058</c:v>
                </c:pt>
                <c:pt idx="403">
                  <c:v>-1057</c:v>
                </c:pt>
                <c:pt idx="404">
                  <c:v>-1056</c:v>
                </c:pt>
                <c:pt idx="405">
                  <c:v>-1055</c:v>
                </c:pt>
                <c:pt idx="406">
                  <c:v>-1054</c:v>
                </c:pt>
                <c:pt idx="407">
                  <c:v>-1053</c:v>
                </c:pt>
                <c:pt idx="408">
                  <c:v>-1052</c:v>
                </c:pt>
                <c:pt idx="409">
                  <c:v>-1051</c:v>
                </c:pt>
                <c:pt idx="410">
                  <c:v>-1050</c:v>
                </c:pt>
                <c:pt idx="411">
                  <c:v>-1049</c:v>
                </c:pt>
                <c:pt idx="412">
                  <c:v>-1048</c:v>
                </c:pt>
                <c:pt idx="413">
                  <c:v>-1047</c:v>
                </c:pt>
                <c:pt idx="414">
                  <c:v>-1046</c:v>
                </c:pt>
                <c:pt idx="415">
                  <c:v>-1045</c:v>
                </c:pt>
                <c:pt idx="416">
                  <c:v>-1044</c:v>
                </c:pt>
                <c:pt idx="417">
                  <c:v>-1043</c:v>
                </c:pt>
                <c:pt idx="418">
                  <c:v>-1042</c:v>
                </c:pt>
                <c:pt idx="419">
                  <c:v>-1041</c:v>
                </c:pt>
                <c:pt idx="420">
                  <c:v>-1040</c:v>
                </c:pt>
                <c:pt idx="421">
                  <c:v>-1039</c:v>
                </c:pt>
                <c:pt idx="422">
                  <c:v>-1038</c:v>
                </c:pt>
                <c:pt idx="423">
                  <c:v>-1037</c:v>
                </c:pt>
                <c:pt idx="424">
                  <c:v>-1036</c:v>
                </c:pt>
                <c:pt idx="425">
                  <c:v>-1035</c:v>
                </c:pt>
                <c:pt idx="426">
                  <c:v>-1034</c:v>
                </c:pt>
                <c:pt idx="427">
                  <c:v>-1033</c:v>
                </c:pt>
                <c:pt idx="428">
                  <c:v>-1032</c:v>
                </c:pt>
                <c:pt idx="429">
                  <c:v>-1031</c:v>
                </c:pt>
                <c:pt idx="430">
                  <c:v>-1030</c:v>
                </c:pt>
                <c:pt idx="431">
                  <c:v>-1029</c:v>
                </c:pt>
                <c:pt idx="432">
                  <c:v>-1028</c:v>
                </c:pt>
                <c:pt idx="433">
                  <c:v>-1027</c:v>
                </c:pt>
                <c:pt idx="434">
                  <c:v>-1026</c:v>
                </c:pt>
                <c:pt idx="435">
                  <c:v>-1025</c:v>
                </c:pt>
                <c:pt idx="436">
                  <c:v>-1024</c:v>
                </c:pt>
                <c:pt idx="437">
                  <c:v>-1023</c:v>
                </c:pt>
                <c:pt idx="438">
                  <c:v>-1022</c:v>
                </c:pt>
                <c:pt idx="439">
                  <c:v>-1021</c:v>
                </c:pt>
                <c:pt idx="440">
                  <c:v>-1020</c:v>
                </c:pt>
                <c:pt idx="441">
                  <c:v>-1019</c:v>
                </c:pt>
                <c:pt idx="442">
                  <c:v>-1018</c:v>
                </c:pt>
                <c:pt idx="443">
                  <c:v>-1017</c:v>
                </c:pt>
                <c:pt idx="444">
                  <c:v>-1016</c:v>
                </c:pt>
                <c:pt idx="445">
                  <c:v>-1015</c:v>
                </c:pt>
                <c:pt idx="446">
                  <c:v>-1014</c:v>
                </c:pt>
                <c:pt idx="447">
                  <c:v>-1013</c:v>
                </c:pt>
                <c:pt idx="448">
                  <c:v>-1012</c:v>
                </c:pt>
                <c:pt idx="449">
                  <c:v>-1011</c:v>
                </c:pt>
                <c:pt idx="450">
                  <c:v>-1010</c:v>
                </c:pt>
                <c:pt idx="451">
                  <c:v>-1009</c:v>
                </c:pt>
                <c:pt idx="452">
                  <c:v>-1008</c:v>
                </c:pt>
                <c:pt idx="453">
                  <c:v>-1007</c:v>
                </c:pt>
                <c:pt idx="454">
                  <c:v>-1006</c:v>
                </c:pt>
                <c:pt idx="455">
                  <c:v>-1005</c:v>
                </c:pt>
                <c:pt idx="456">
                  <c:v>-1004</c:v>
                </c:pt>
                <c:pt idx="457">
                  <c:v>-1003</c:v>
                </c:pt>
                <c:pt idx="458">
                  <c:v>-1002</c:v>
                </c:pt>
                <c:pt idx="459">
                  <c:v>-1001</c:v>
                </c:pt>
                <c:pt idx="460">
                  <c:v>-1000</c:v>
                </c:pt>
                <c:pt idx="461">
                  <c:v>-999</c:v>
                </c:pt>
                <c:pt idx="462">
                  <c:v>-998</c:v>
                </c:pt>
                <c:pt idx="463">
                  <c:v>-997</c:v>
                </c:pt>
                <c:pt idx="464">
                  <c:v>-996</c:v>
                </c:pt>
                <c:pt idx="465">
                  <c:v>-995</c:v>
                </c:pt>
                <c:pt idx="466">
                  <c:v>-994</c:v>
                </c:pt>
                <c:pt idx="467">
                  <c:v>-993</c:v>
                </c:pt>
                <c:pt idx="468">
                  <c:v>-992</c:v>
                </c:pt>
                <c:pt idx="469">
                  <c:v>-991</c:v>
                </c:pt>
                <c:pt idx="470">
                  <c:v>-990</c:v>
                </c:pt>
                <c:pt idx="471">
                  <c:v>-989</c:v>
                </c:pt>
                <c:pt idx="472">
                  <c:v>-988</c:v>
                </c:pt>
                <c:pt idx="473">
                  <c:v>-987</c:v>
                </c:pt>
                <c:pt idx="474">
                  <c:v>-986</c:v>
                </c:pt>
                <c:pt idx="475">
                  <c:v>-985</c:v>
                </c:pt>
                <c:pt idx="476">
                  <c:v>-984</c:v>
                </c:pt>
                <c:pt idx="477">
                  <c:v>-983</c:v>
                </c:pt>
                <c:pt idx="478">
                  <c:v>-982</c:v>
                </c:pt>
                <c:pt idx="479">
                  <c:v>-981</c:v>
                </c:pt>
                <c:pt idx="480">
                  <c:v>-980</c:v>
                </c:pt>
                <c:pt idx="481">
                  <c:v>-979</c:v>
                </c:pt>
                <c:pt idx="482">
                  <c:v>-978</c:v>
                </c:pt>
                <c:pt idx="483">
                  <c:v>-977</c:v>
                </c:pt>
                <c:pt idx="484">
                  <c:v>-976</c:v>
                </c:pt>
                <c:pt idx="485">
                  <c:v>-975</c:v>
                </c:pt>
                <c:pt idx="486">
                  <c:v>-974</c:v>
                </c:pt>
                <c:pt idx="487">
                  <c:v>-973</c:v>
                </c:pt>
                <c:pt idx="488">
                  <c:v>-972</c:v>
                </c:pt>
                <c:pt idx="489">
                  <c:v>-971</c:v>
                </c:pt>
                <c:pt idx="490">
                  <c:v>-970</c:v>
                </c:pt>
                <c:pt idx="491">
                  <c:v>-969</c:v>
                </c:pt>
                <c:pt idx="492">
                  <c:v>-968</c:v>
                </c:pt>
                <c:pt idx="493">
                  <c:v>-967</c:v>
                </c:pt>
                <c:pt idx="494">
                  <c:v>-966</c:v>
                </c:pt>
                <c:pt idx="495">
                  <c:v>-965</c:v>
                </c:pt>
                <c:pt idx="496">
                  <c:v>-964</c:v>
                </c:pt>
                <c:pt idx="497">
                  <c:v>-963</c:v>
                </c:pt>
                <c:pt idx="498">
                  <c:v>-962</c:v>
                </c:pt>
                <c:pt idx="499">
                  <c:v>-961</c:v>
                </c:pt>
                <c:pt idx="500">
                  <c:v>-960</c:v>
                </c:pt>
                <c:pt idx="501">
                  <c:v>-959</c:v>
                </c:pt>
                <c:pt idx="502">
                  <c:v>-958</c:v>
                </c:pt>
                <c:pt idx="503">
                  <c:v>-957</c:v>
                </c:pt>
                <c:pt idx="504">
                  <c:v>-956</c:v>
                </c:pt>
                <c:pt idx="505">
                  <c:v>-955</c:v>
                </c:pt>
                <c:pt idx="506">
                  <c:v>-954</c:v>
                </c:pt>
                <c:pt idx="507">
                  <c:v>-953</c:v>
                </c:pt>
                <c:pt idx="508">
                  <c:v>-952</c:v>
                </c:pt>
                <c:pt idx="509">
                  <c:v>-951</c:v>
                </c:pt>
                <c:pt idx="510">
                  <c:v>-950</c:v>
                </c:pt>
                <c:pt idx="511">
                  <c:v>-949</c:v>
                </c:pt>
                <c:pt idx="512">
                  <c:v>-948</c:v>
                </c:pt>
                <c:pt idx="513">
                  <c:v>-947</c:v>
                </c:pt>
                <c:pt idx="514">
                  <c:v>-946</c:v>
                </c:pt>
                <c:pt idx="515">
                  <c:v>-945</c:v>
                </c:pt>
                <c:pt idx="516">
                  <c:v>-944</c:v>
                </c:pt>
                <c:pt idx="517">
                  <c:v>-943</c:v>
                </c:pt>
                <c:pt idx="518">
                  <c:v>-942</c:v>
                </c:pt>
                <c:pt idx="519">
                  <c:v>-941</c:v>
                </c:pt>
                <c:pt idx="520">
                  <c:v>-940</c:v>
                </c:pt>
                <c:pt idx="521">
                  <c:v>-939</c:v>
                </c:pt>
                <c:pt idx="522">
                  <c:v>-938</c:v>
                </c:pt>
                <c:pt idx="523">
                  <c:v>-937</c:v>
                </c:pt>
                <c:pt idx="524">
                  <c:v>-936</c:v>
                </c:pt>
                <c:pt idx="525">
                  <c:v>-935</c:v>
                </c:pt>
                <c:pt idx="526">
                  <c:v>-934</c:v>
                </c:pt>
                <c:pt idx="527">
                  <c:v>-933</c:v>
                </c:pt>
                <c:pt idx="528">
                  <c:v>-932</c:v>
                </c:pt>
                <c:pt idx="529">
                  <c:v>-931</c:v>
                </c:pt>
                <c:pt idx="530">
                  <c:v>-930</c:v>
                </c:pt>
                <c:pt idx="531">
                  <c:v>-929</c:v>
                </c:pt>
                <c:pt idx="532">
                  <c:v>-928</c:v>
                </c:pt>
                <c:pt idx="533">
                  <c:v>-927</c:v>
                </c:pt>
                <c:pt idx="534">
                  <c:v>-926</c:v>
                </c:pt>
                <c:pt idx="535">
                  <c:v>-925</c:v>
                </c:pt>
                <c:pt idx="536">
                  <c:v>-924</c:v>
                </c:pt>
                <c:pt idx="537">
                  <c:v>-923</c:v>
                </c:pt>
                <c:pt idx="538">
                  <c:v>-922</c:v>
                </c:pt>
                <c:pt idx="539">
                  <c:v>-921</c:v>
                </c:pt>
                <c:pt idx="540">
                  <c:v>-920</c:v>
                </c:pt>
                <c:pt idx="541">
                  <c:v>-919</c:v>
                </c:pt>
                <c:pt idx="542">
                  <c:v>-918</c:v>
                </c:pt>
                <c:pt idx="543">
                  <c:v>-917</c:v>
                </c:pt>
                <c:pt idx="544">
                  <c:v>-916</c:v>
                </c:pt>
                <c:pt idx="545">
                  <c:v>-915</c:v>
                </c:pt>
                <c:pt idx="546">
                  <c:v>-914</c:v>
                </c:pt>
                <c:pt idx="547">
                  <c:v>-913</c:v>
                </c:pt>
                <c:pt idx="548">
                  <c:v>-912</c:v>
                </c:pt>
                <c:pt idx="549">
                  <c:v>-911</c:v>
                </c:pt>
                <c:pt idx="550">
                  <c:v>-910</c:v>
                </c:pt>
                <c:pt idx="551">
                  <c:v>-909</c:v>
                </c:pt>
                <c:pt idx="552">
                  <c:v>-908</c:v>
                </c:pt>
                <c:pt idx="553">
                  <c:v>-907</c:v>
                </c:pt>
                <c:pt idx="554">
                  <c:v>-906</c:v>
                </c:pt>
                <c:pt idx="555">
                  <c:v>-905</c:v>
                </c:pt>
                <c:pt idx="556">
                  <c:v>-904</c:v>
                </c:pt>
                <c:pt idx="557">
                  <c:v>-903</c:v>
                </c:pt>
                <c:pt idx="558">
                  <c:v>-902</c:v>
                </c:pt>
                <c:pt idx="559">
                  <c:v>-901</c:v>
                </c:pt>
                <c:pt idx="560">
                  <c:v>-900</c:v>
                </c:pt>
                <c:pt idx="561">
                  <c:v>-899</c:v>
                </c:pt>
                <c:pt idx="562">
                  <c:v>-898</c:v>
                </c:pt>
                <c:pt idx="563">
                  <c:v>-897</c:v>
                </c:pt>
                <c:pt idx="564">
                  <c:v>-896</c:v>
                </c:pt>
                <c:pt idx="565">
                  <c:v>-895</c:v>
                </c:pt>
                <c:pt idx="566">
                  <c:v>-894</c:v>
                </c:pt>
                <c:pt idx="567">
                  <c:v>-893</c:v>
                </c:pt>
                <c:pt idx="568">
                  <c:v>-892</c:v>
                </c:pt>
                <c:pt idx="569">
                  <c:v>-891</c:v>
                </c:pt>
                <c:pt idx="570">
                  <c:v>-890</c:v>
                </c:pt>
                <c:pt idx="571">
                  <c:v>-889</c:v>
                </c:pt>
                <c:pt idx="572">
                  <c:v>-888</c:v>
                </c:pt>
                <c:pt idx="573">
                  <c:v>-887</c:v>
                </c:pt>
                <c:pt idx="574">
                  <c:v>-886</c:v>
                </c:pt>
                <c:pt idx="575">
                  <c:v>-885</c:v>
                </c:pt>
                <c:pt idx="576">
                  <c:v>-884</c:v>
                </c:pt>
                <c:pt idx="577">
                  <c:v>-883</c:v>
                </c:pt>
                <c:pt idx="578">
                  <c:v>-882</c:v>
                </c:pt>
                <c:pt idx="579">
                  <c:v>-881</c:v>
                </c:pt>
                <c:pt idx="580">
                  <c:v>-880</c:v>
                </c:pt>
                <c:pt idx="581">
                  <c:v>-879</c:v>
                </c:pt>
                <c:pt idx="582">
                  <c:v>-878</c:v>
                </c:pt>
                <c:pt idx="583">
                  <c:v>-877</c:v>
                </c:pt>
                <c:pt idx="584">
                  <c:v>-876</c:v>
                </c:pt>
                <c:pt idx="585">
                  <c:v>-875</c:v>
                </c:pt>
                <c:pt idx="586">
                  <c:v>-874</c:v>
                </c:pt>
                <c:pt idx="587">
                  <c:v>-873</c:v>
                </c:pt>
                <c:pt idx="588">
                  <c:v>-872</c:v>
                </c:pt>
                <c:pt idx="589">
                  <c:v>-871</c:v>
                </c:pt>
                <c:pt idx="590">
                  <c:v>-870</c:v>
                </c:pt>
                <c:pt idx="591">
                  <c:v>-869</c:v>
                </c:pt>
                <c:pt idx="592">
                  <c:v>-868</c:v>
                </c:pt>
                <c:pt idx="593">
                  <c:v>-867</c:v>
                </c:pt>
                <c:pt idx="594">
                  <c:v>-866</c:v>
                </c:pt>
                <c:pt idx="595">
                  <c:v>-865</c:v>
                </c:pt>
                <c:pt idx="596">
                  <c:v>-864</c:v>
                </c:pt>
                <c:pt idx="597">
                  <c:v>-863</c:v>
                </c:pt>
                <c:pt idx="598">
                  <c:v>-862</c:v>
                </c:pt>
                <c:pt idx="599">
                  <c:v>-861</c:v>
                </c:pt>
                <c:pt idx="600">
                  <c:v>-860</c:v>
                </c:pt>
                <c:pt idx="601">
                  <c:v>-859</c:v>
                </c:pt>
                <c:pt idx="602">
                  <c:v>-858</c:v>
                </c:pt>
                <c:pt idx="603">
                  <c:v>-857</c:v>
                </c:pt>
                <c:pt idx="604">
                  <c:v>-856</c:v>
                </c:pt>
                <c:pt idx="605">
                  <c:v>-855</c:v>
                </c:pt>
                <c:pt idx="606">
                  <c:v>-854</c:v>
                </c:pt>
                <c:pt idx="607">
                  <c:v>-853</c:v>
                </c:pt>
                <c:pt idx="608">
                  <c:v>-852</c:v>
                </c:pt>
                <c:pt idx="609">
                  <c:v>-851</c:v>
                </c:pt>
                <c:pt idx="610">
                  <c:v>-850</c:v>
                </c:pt>
                <c:pt idx="611">
                  <c:v>-849</c:v>
                </c:pt>
                <c:pt idx="612">
                  <c:v>-848</c:v>
                </c:pt>
                <c:pt idx="613">
                  <c:v>-847</c:v>
                </c:pt>
                <c:pt idx="614">
                  <c:v>-846</c:v>
                </c:pt>
                <c:pt idx="615">
                  <c:v>-845</c:v>
                </c:pt>
                <c:pt idx="616">
                  <c:v>-844</c:v>
                </c:pt>
                <c:pt idx="617">
                  <c:v>-843</c:v>
                </c:pt>
                <c:pt idx="618">
                  <c:v>-842</c:v>
                </c:pt>
                <c:pt idx="619">
                  <c:v>-841</c:v>
                </c:pt>
                <c:pt idx="620">
                  <c:v>-840</c:v>
                </c:pt>
                <c:pt idx="621">
                  <c:v>-839</c:v>
                </c:pt>
                <c:pt idx="622">
                  <c:v>-838</c:v>
                </c:pt>
                <c:pt idx="623">
                  <c:v>-837</c:v>
                </c:pt>
                <c:pt idx="624">
                  <c:v>-836</c:v>
                </c:pt>
                <c:pt idx="625">
                  <c:v>-835</c:v>
                </c:pt>
                <c:pt idx="626">
                  <c:v>-834</c:v>
                </c:pt>
                <c:pt idx="627">
                  <c:v>-833</c:v>
                </c:pt>
                <c:pt idx="628">
                  <c:v>-832</c:v>
                </c:pt>
                <c:pt idx="629">
                  <c:v>-831</c:v>
                </c:pt>
                <c:pt idx="630">
                  <c:v>-830</c:v>
                </c:pt>
                <c:pt idx="631">
                  <c:v>-829</c:v>
                </c:pt>
                <c:pt idx="632">
                  <c:v>-828</c:v>
                </c:pt>
                <c:pt idx="633">
                  <c:v>-827</c:v>
                </c:pt>
                <c:pt idx="634">
                  <c:v>-826</c:v>
                </c:pt>
                <c:pt idx="635">
                  <c:v>-825</c:v>
                </c:pt>
                <c:pt idx="636">
                  <c:v>-824</c:v>
                </c:pt>
                <c:pt idx="637">
                  <c:v>-823</c:v>
                </c:pt>
                <c:pt idx="638">
                  <c:v>-822</c:v>
                </c:pt>
                <c:pt idx="639">
                  <c:v>-821</c:v>
                </c:pt>
                <c:pt idx="640">
                  <c:v>-820</c:v>
                </c:pt>
                <c:pt idx="641">
                  <c:v>-819</c:v>
                </c:pt>
                <c:pt idx="642">
                  <c:v>-818</c:v>
                </c:pt>
                <c:pt idx="643">
                  <c:v>-817</c:v>
                </c:pt>
                <c:pt idx="644">
                  <c:v>-816</c:v>
                </c:pt>
                <c:pt idx="645">
                  <c:v>-815</c:v>
                </c:pt>
                <c:pt idx="646">
                  <c:v>-814</c:v>
                </c:pt>
                <c:pt idx="647">
                  <c:v>-813</c:v>
                </c:pt>
                <c:pt idx="648">
                  <c:v>-812</c:v>
                </c:pt>
                <c:pt idx="649">
                  <c:v>-811</c:v>
                </c:pt>
                <c:pt idx="650">
                  <c:v>-810</c:v>
                </c:pt>
                <c:pt idx="651">
                  <c:v>-809</c:v>
                </c:pt>
                <c:pt idx="652">
                  <c:v>-808</c:v>
                </c:pt>
                <c:pt idx="653">
                  <c:v>-807</c:v>
                </c:pt>
                <c:pt idx="654">
                  <c:v>-806</c:v>
                </c:pt>
                <c:pt idx="655">
                  <c:v>-805</c:v>
                </c:pt>
                <c:pt idx="656">
                  <c:v>-804</c:v>
                </c:pt>
                <c:pt idx="657">
                  <c:v>-803</c:v>
                </c:pt>
                <c:pt idx="658">
                  <c:v>-802</c:v>
                </c:pt>
                <c:pt idx="659">
                  <c:v>-801</c:v>
                </c:pt>
                <c:pt idx="660">
                  <c:v>-800</c:v>
                </c:pt>
                <c:pt idx="661">
                  <c:v>-799</c:v>
                </c:pt>
                <c:pt idx="662">
                  <c:v>-798</c:v>
                </c:pt>
                <c:pt idx="663">
                  <c:v>-797</c:v>
                </c:pt>
                <c:pt idx="664">
                  <c:v>-796</c:v>
                </c:pt>
                <c:pt idx="665">
                  <c:v>-795</c:v>
                </c:pt>
                <c:pt idx="666">
                  <c:v>-794</c:v>
                </c:pt>
                <c:pt idx="667">
                  <c:v>-793</c:v>
                </c:pt>
                <c:pt idx="668">
                  <c:v>-792</c:v>
                </c:pt>
                <c:pt idx="669">
                  <c:v>-791</c:v>
                </c:pt>
                <c:pt idx="670">
                  <c:v>-790</c:v>
                </c:pt>
                <c:pt idx="671">
                  <c:v>-789</c:v>
                </c:pt>
                <c:pt idx="672">
                  <c:v>-788</c:v>
                </c:pt>
                <c:pt idx="673">
                  <c:v>-787</c:v>
                </c:pt>
                <c:pt idx="674">
                  <c:v>-786</c:v>
                </c:pt>
                <c:pt idx="675">
                  <c:v>-785</c:v>
                </c:pt>
                <c:pt idx="676">
                  <c:v>-784</c:v>
                </c:pt>
                <c:pt idx="677">
                  <c:v>-783</c:v>
                </c:pt>
                <c:pt idx="678">
                  <c:v>-782</c:v>
                </c:pt>
                <c:pt idx="679">
                  <c:v>-781</c:v>
                </c:pt>
                <c:pt idx="680">
                  <c:v>-780</c:v>
                </c:pt>
                <c:pt idx="681">
                  <c:v>-779</c:v>
                </c:pt>
                <c:pt idx="682">
                  <c:v>-778</c:v>
                </c:pt>
                <c:pt idx="683">
                  <c:v>-777</c:v>
                </c:pt>
                <c:pt idx="684">
                  <c:v>-776</c:v>
                </c:pt>
                <c:pt idx="685">
                  <c:v>-775</c:v>
                </c:pt>
                <c:pt idx="686">
                  <c:v>-774</c:v>
                </c:pt>
                <c:pt idx="687">
                  <c:v>-773</c:v>
                </c:pt>
                <c:pt idx="688">
                  <c:v>-772</c:v>
                </c:pt>
                <c:pt idx="689">
                  <c:v>-771</c:v>
                </c:pt>
                <c:pt idx="690">
                  <c:v>-770</c:v>
                </c:pt>
                <c:pt idx="691">
                  <c:v>-769</c:v>
                </c:pt>
                <c:pt idx="692">
                  <c:v>-768</c:v>
                </c:pt>
                <c:pt idx="693">
                  <c:v>-767</c:v>
                </c:pt>
                <c:pt idx="694">
                  <c:v>-766</c:v>
                </c:pt>
                <c:pt idx="695">
                  <c:v>-765</c:v>
                </c:pt>
                <c:pt idx="696">
                  <c:v>-764</c:v>
                </c:pt>
                <c:pt idx="697">
                  <c:v>-763</c:v>
                </c:pt>
                <c:pt idx="698">
                  <c:v>-762</c:v>
                </c:pt>
                <c:pt idx="699">
                  <c:v>-761</c:v>
                </c:pt>
                <c:pt idx="700">
                  <c:v>-760</c:v>
                </c:pt>
                <c:pt idx="701">
                  <c:v>-759</c:v>
                </c:pt>
                <c:pt idx="702">
                  <c:v>-758</c:v>
                </c:pt>
                <c:pt idx="703">
                  <c:v>-757</c:v>
                </c:pt>
                <c:pt idx="704">
                  <c:v>-756</c:v>
                </c:pt>
                <c:pt idx="705">
                  <c:v>-755</c:v>
                </c:pt>
                <c:pt idx="706">
                  <c:v>-754</c:v>
                </c:pt>
                <c:pt idx="707">
                  <c:v>-753</c:v>
                </c:pt>
                <c:pt idx="708">
                  <c:v>-752</c:v>
                </c:pt>
                <c:pt idx="709">
                  <c:v>-751</c:v>
                </c:pt>
                <c:pt idx="710">
                  <c:v>-750</c:v>
                </c:pt>
                <c:pt idx="711">
                  <c:v>-749</c:v>
                </c:pt>
                <c:pt idx="712">
                  <c:v>-748</c:v>
                </c:pt>
                <c:pt idx="713">
                  <c:v>-747</c:v>
                </c:pt>
                <c:pt idx="714">
                  <c:v>-746</c:v>
                </c:pt>
                <c:pt idx="715">
                  <c:v>-745</c:v>
                </c:pt>
                <c:pt idx="716">
                  <c:v>-744</c:v>
                </c:pt>
                <c:pt idx="717">
                  <c:v>-743</c:v>
                </c:pt>
                <c:pt idx="718">
                  <c:v>-742</c:v>
                </c:pt>
                <c:pt idx="719">
                  <c:v>-741</c:v>
                </c:pt>
                <c:pt idx="720">
                  <c:v>-740</c:v>
                </c:pt>
                <c:pt idx="721">
                  <c:v>-739</c:v>
                </c:pt>
                <c:pt idx="722">
                  <c:v>-738</c:v>
                </c:pt>
                <c:pt idx="723">
                  <c:v>-737</c:v>
                </c:pt>
                <c:pt idx="724">
                  <c:v>-736</c:v>
                </c:pt>
                <c:pt idx="725">
                  <c:v>-735</c:v>
                </c:pt>
                <c:pt idx="726">
                  <c:v>-734</c:v>
                </c:pt>
                <c:pt idx="727">
                  <c:v>-733</c:v>
                </c:pt>
                <c:pt idx="728">
                  <c:v>-732</c:v>
                </c:pt>
                <c:pt idx="729">
                  <c:v>-731</c:v>
                </c:pt>
                <c:pt idx="730">
                  <c:v>-730</c:v>
                </c:pt>
                <c:pt idx="731">
                  <c:v>-729</c:v>
                </c:pt>
                <c:pt idx="732">
                  <c:v>-728</c:v>
                </c:pt>
                <c:pt idx="733">
                  <c:v>-727</c:v>
                </c:pt>
                <c:pt idx="734">
                  <c:v>-726</c:v>
                </c:pt>
                <c:pt idx="735">
                  <c:v>-725</c:v>
                </c:pt>
                <c:pt idx="736">
                  <c:v>-724</c:v>
                </c:pt>
                <c:pt idx="737">
                  <c:v>-723</c:v>
                </c:pt>
                <c:pt idx="738">
                  <c:v>-722</c:v>
                </c:pt>
                <c:pt idx="739">
                  <c:v>-721</c:v>
                </c:pt>
                <c:pt idx="740">
                  <c:v>-720</c:v>
                </c:pt>
                <c:pt idx="741">
                  <c:v>-719</c:v>
                </c:pt>
                <c:pt idx="742">
                  <c:v>-718</c:v>
                </c:pt>
                <c:pt idx="743">
                  <c:v>-717</c:v>
                </c:pt>
                <c:pt idx="744">
                  <c:v>-716</c:v>
                </c:pt>
                <c:pt idx="745">
                  <c:v>-715</c:v>
                </c:pt>
                <c:pt idx="746">
                  <c:v>-714</c:v>
                </c:pt>
                <c:pt idx="747">
                  <c:v>-713</c:v>
                </c:pt>
                <c:pt idx="748">
                  <c:v>-712</c:v>
                </c:pt>
                <c:pt idx="749">
                  <c:v>-711</c:v>
                </c:pt>
                <c:pt idx="750">
                  <c:v>-710</c:v>
                </c:pt>
                <c:pt idx="751">
                  <c:v>-709</c:v>
                </c:pt>
                <c:pt idx="752">
                  <c:v>-708</c:v>
                </c:pt>
                <c:pt idx="753">
                  <c:v>-707</c:v>
                </c:pt>
                <c:pt idx="754">
                  <c:v>-706</c:v>
                </c:pt>
                <c:pt idx="755">
                  <c:v>-705</c:v>
                </c:pt>
                <c:pt idx="756">
                  <c:v>-704</c:v>
                </c:pt>
                <c:pt idx="757">
                  <c:v>-703</c:v>
                </c:pt>
                <c:pt idx="758">
                  <c:v>-702</c:v>
                </c:pt>
                <c:pt idx="759">
                  <c:v>-701</c:v>
                </c:pt>
                <c:pt idx="760">
                  <c:v>-700</c:v>
                </c:pt>
                <c:pt idx="761">
                  <c:v>-699</c:v>
                </c:pt>
                <c:pt idx="762">
                  <c:v>-698</c:v>
                </c:pt>
                <c:pt idx="763">
                  <c:v>-697</c:v>
                </c:pt>
                <c:pt idx="764">
                  <c:v>-696</c:v>
                </c:pt>
                <c:pt idx="765">
                  <c:v>-695</c:v>
                </c:pt>
                <c:pt idx="766">
                  <c:v>-694</c:v>
                </c:pt>
                <c:pt idx="767">
                  <c:v>-693</c:v>
                </c:pt>
                <c:pt idx="768">
                  <c:v>-692</c:v>
                </c:pt>
                <c:pt idx="769">
                  <c:v>-691</c:v>
                </c:pt>
                <c:pt idx="770">
                  <c:v>-690</c:v>
                </c:pt>
                <c:pt idx="771">
                  <c:v>-689</c:v>
                </c:pt>
                <c:pt idx="772">
                  <c:v>-688</c:v>
                </c:pt>
                <c:pt idx="773">
                  <c:v>-687</c:v>
                </c:pt>
                <c:pt idx="774">
                  <c:v>-686</c:v>
                </c:pt>
                <c:pt idx="775">
                  <c:v>-685</c:v>
                </c:pt>
                <c:pt idx="776">
                  <c:v>-684</c:v>
                </c:pt>
                <c:pt idx="777">
                  <c:v>-683</c:v>
                </c:pt>
                <c:pt idx="778">
                  <c:v>-682</c:v>
                </c:pt>
                <c:pt idx="779">
                  <c:v>-681</c:v>
                </c:pt>
                <c:pt idx="780">
                  <c:v>-680</c:v>
                </c:pt>
                <c:pt idx="781">
                  <c:v>-679</c:v>
                </c:pt>
                <c:pt idx="782">
                  <c:v>-678</c:v>
                </c:pt>
                <c:pt idx="783">
                  <c:v>-677</c:v>
                </c:pt>
                <c:pt idx="784">
                  <c:v>-676</c:v>
                </c:pt>
                <c:pt idx="785">
                  <c:v>-675</c:v>
                </c:pt>
                <c:pt idx="786">
                  <c:v>-674</c:v>
                </c:pt>
                <c:pt idx="787">
                  <c:v>-673</c:v>
                </c:pt>
                <c:pt idx="788">
                  <c:v>-672</c:v>
                </c:pt>
                <c:pt idx="789">
                  <c:v>-671</c:v>
                </c:pt>
                <c:pt idx="790">
                  <c:v>-670</c:v>
                </c:pt>
                <c:pt idx="791">
                  <c:v>-669</c:v>
                </c:pt>
                <c:pt idx="792">
                  <c:v>-668</c:v>
                </c:pt>
                <c:pt idx="793">
                  <c:v>-667</c:v>
                </c:pt>
                <c:pt idx="794">
                  <c:v>-666</c:v>
                </c:pt>
                <c:pt idx="795">
                  <c:v>-665</c:v>
                </c:pt>
                <c:pt idx="796">
                  <c:v>-664</c:v>
                </c:pt>
                <c:pt idx="797">
                  <c:v>-663</c:v>
                </c:pt>
                <c:pt idx="798">
                  <c:v>-662</c:v>
                </c:pt>
                <c:pt idx="799">
                  <c:v>-661</c:v>
                </c:pt>
                <c:pt idx="800">
                  <c:v>-660</c:v>
                </c:pt>
                <c:pt idx="801">
                  <c:v>-659</c:v>
                </c:pt>
                <c:pt idx="802">
                  <c:v>-658</c:v>
                </c:pt>
                <c:pt idx="803">
                  <c:v>-657</c:v>
                </c:pt>
                <c:pt idx="804">
                  <c:v>-656</c:v>
                </c:pt>
                <c:pt idx="805">
                  <c:v>-655</c:v>
                </c:pt>
                <c:pt idx="806">
                  <c:v>-654</c:v>
                </c:pt>
                <c:pt idx="807">
                  <c:v>-653</c:v>
                </c:pt>
                <c:pt idx="808">
                  <c:v>-652</c:v>
                </c:pt>
                <c:pt idx="809">
                  <c:v>-651</c:v>
                </c:pt>
                <c:pt idx="810">
                  <c:v>-650</c:v>
                </c:pt>
                <c:pt idx="811">
                  <c:v>-649</c:v>
                </c:pt>
                <c:pt idx="812">
                  <c:v>-648</c:v>
                </c:pt>
                <c:pt idx="813">
                  <c:v>-647</c:v>
                </c:pt>
                <c:pt idx="814">
                  <c:v>-646</c:v>
                </c:pt>
                <c:pt idx="815">
                  <c:v>-645</c:v>
                </c:pt>
                <c:pt idx="816">
                  <c:v>-644</c:v>
                </c:pt>
                <c:pt idx="817">
                  <c:v>-643</c:v>
                </c:pt>
                <c:pt idx="818">
                  <c:v>-642</c:v>
                </c:pt>
                <c:pt idx="819">
                  <c:v>-641</c:v>
                </c:pt>
                <c:pt idx="820">
                  <c:v>-640</c:v>
                </c:pt>
                <c:pt idx="821">
                  <c:v>-639</c:v>
                </c:pt>
                <c:pt idx="822">
                  <c:v>-638</c:v>
                </c:pt>
                <c:pt idx="823">
                  <c:v>-637</c:v>
                </c:pt>
                <c:pt idx="824">
                  <c:v>-636</c:v>
                </c:pt>
                <c:pt idx="825">
                  <c:v>-635</c:v>
                </c:pt>
                <c:pt idx="826">
                  <c:v>-634</c:v>
                </c:pt>
                <c:pt idx="827">
                  <c:v>-633</c:v>
                </c:pt>
                <c:pt idx="828">
                  <c:v>-632</c:v>
                </c:pt>
                <c:pt idx="829">
                  <c:v>-631</c:v>
                </c:pt>
                <c:pt idx="830">
                  <c:v>-630</c:v>
                </c:pt>
                <c:pt idx="831">
                  <c:v>-629</c:v>
                </c:pt>
                <c:pt idx="832">
                  <c:v>-628</c:v>
                </c:pt>
                <c:pt idx="833">
                  <c:v>-627</c:v>
                </c:pt>
                <c:pt idx="834">
                  <c:v>-626</c:v>
                </c:pt>
                <c:pt idx="835">
                  <c:v>-625</c:v>
                </c:pt>
                <c:pt idx="836">
                  <c:v>-624</c:v>
                </c:pt>
                <c:pt idx="837">
                  <c:v>-623</c:v>
                </c:pt>
                <c:pt idx="838">
                  <c:v>-622</c:v>
                </c:pt>
                <c:pt idx="839">
                  <c:v>-621</c:v>
                </c:pt>
                <c:pt idx="840">
                  <c:v>-620</c:v>
                </c:pt>
                <c:pt idx="841">
                  <c:v>-619</c:v>
                </c:pt>
                <c:pt idx="842">
                  <c:v>-618</c:v>
                </c:pt>
                <c:pt idx="843">
                  <c:v>-617</c:v>
                </c:pt>
                <c:pt idx="844">
                  <c:v>-616</c:v>
                </c:pt>
                <c:pt idx="845">
                  <c:v>-615</c:v>
                </c:pt>
                <c:pt idx="846">
                  <c:v>-614</c:v>
                </c:pt>
                <c:pt idx="847">
                  <c:v>-613</c:v>
                </c:pt>
                <c:pt idx="848">
                  <c:v>-612</c:v>
                </c:pt>
                <c:pt idx="849">
                  <c:v>-611</c:v>
                </c:pt>
                <c:pt idx="850">
                  <c:v>-610</c:v>
                </c:pt>
                <c:pt idx="851">
                  <c:v>-609</c:v>
                </c:pt>
                <c:pt idx="852">
                  <c:v>-608</c:v>
                </c:pt>
                <c:pt idx="853">
                  <c:v>-607</c:v>
                </c:pt>
                <c:pt idx="854">
                  <c:v>-606</c:v>
                </c:pt>
                <c:pt idx="855">
                  <c:v>-605</c:v>
                </c:pt>
                <c:pt idx="856">
                  <c:v>-604</c:v>
                </c:pt>
                <c:pt idx="857">
                  <c:v>-603</c:v>
                </c:pt>
                <c:pt idx="858">
                  <c:v>-602</c:v>
                </c:pt>
                <c:pt idx="859">
                  <c:v>-601</c:v>
                </c:pt>
                <c:pt idx="860">
                  <c:v>-600</c:v>
                </c:pt>
                <c:pt idx="861">
                  <c:v>-599</c:v>
                </c:pt>
                <c:pt idx="862">
                  <c:v>-598</c:v>
                </c:pt>
                <c:pt idx="863">
                  <c:v>-597</c:v>
                </c:pt>
                <c:pt idx="864">
                  <c:v>-596</c:v>
                </c:pt>
                <c:pt idx="865">
                  <c:v>-595</c:v>
                </c:pt>
                <c:pt idx="866">
                  <c:v>-594</c:v>
                </c:pt>
                <c:pt idx="867">
                  <c:v>-593</c:v>
                </c:pt>
                <c:pt idx="868">
                  <c:v>-592</c:v>
                </c:pt>
                <c:pt idx="869">
                  <c:v>-591</c:v>
                </c:pt>
                <c:pt idx="870">
                  <c:v>-590</c:v>
                </c:pt>
                <c:pt idx="871">
                  <c:v>-589</c:v>
                </c:pt>
                <c:pt idx="872">
                  <c:v>-588</c:v>
                </c:pt>
                <c:pt idx="873">
                  <c:v>-587</c:v>
                </c:pt>
                <c:pt idx="874">
                  <c:v>-586</c:v>
                </c:pt>
                <c:pt idx="875">
                  <c:v>-585</c:v>
                </c:pt>
                <c:pt idx="876">
                  <c:v>-584</c:v>
                </c:pt>
                <c:pt idx="877">
                  <c:v>-583</c:v>
                </c:pt>
                <c:pt idx="878">
                  <c:v>-582</c:v>
                </c:pt>
                <c:pt idx="879">
                  <c:v>-581</c:v>
                </c:pt>
                <c:pt idx="880">
                  <c:v>-580</c:v>
                </c:pt>
                <c:pt idx="881">
                  <c:v>-579</c:v>
                </c:pt>
                <c:pt idx="882">
                  <c:v>-578</c:v>
                </c:pt>
                <c:pt idx="883">
                  <c:v>-577</c:v>
                </c:pt>
                <c:pt idx="884">
                  <c:v>-576</c:v>
                </c:pt>
                <c:pt idx="885">
                  <c:v>-575</c:v>
                </c:pt>
                <c:pt idx="886">
                  <c:v>-574</c:v>
                </c:pt>
                <c:pt idx="887">
                  <c:v>-573</c:v>
                </c:pt>
                <c:pt idx="888">
                  <c:v>-572</c:v>
                </c:pt>
                <c:pt idx="889">
                  <c:v>-571</c:v>
                </c:pt>
                <c:pt idx="890">
                  <c:v>-570</c:v>
                </c:pt>
                <c:pt idx="891">
                  <c:v>-569</c:v>
                </c:pt>
                <c:pt idx="892">
                  <c:v>-568</c:v>
                </c:pt>
                <c:pt idx="893">
                  <c:v>-567</c:v>
                </c:pt>
                <c:pt idx="894">
                  <c:v>-566</c:v>
                </c:pt>
                <c:pt idx="895">
                  <c:v>-565</c:v>
                </c:pt>
                <c:pt idx="896">
                  <c:v>-564</c:v>
                </c:pt>
                <c:pt idx="897">
                  <c:v>-563</c:v>
                </c:pt>
                <c:pt idx="898">
                  <c:v>-562</c:v>
                </c:pt>
                <c:pt idx="899">
                  <c:v>-561</c:v>
                </c:pt>
                <c:pt idx="900">
                  <c:v>-560</c:v>
                </c:pt>
                <c:pt idx="901">
                  <c:v>-559</c:v>
                </c:pt>
                <c:pt idx="902">
                  <c:v>-558</c:v>
                </c:pt>
                <c:pt idx="903">
                  <c:v>-557</c:v>
                </c:pt>
                <c:pt idx="904">
                  <c:v>-556</c:v>
                </c:pt>
                <c:pt idx="905">
                  <c:v>-555</c:v>
                </c:pt>
                <c:pt idx="906">
                  <c:v>-554</c:v>
                </c:pt>
                <c:pt idx="907">
                  <c:v>-553</c:v>
                </c:pt>
                <c:pt idx="908">
                  <c:v>-552</c:v>
                </c:pt>
                <c:pt idx="909">
                  <c:v>-551</c:v>
                </c:pt>
                <c:pt idx="910">
                  <c:v>-550</c:v>
                </c:pt>
                <c:pt idx="911">
                  <c:v>-549</c:v>
                </c:pt>
                <c:pt idx="912">
                  <c:v>-548</c:v>
                </c:pt>
                <c:pt idx="913">
                  <c:v>-547</c:v>
                </c:pt>
                <c:pt idx="914">
                  <c:v>-546</c:v>
                </c:pt>
                <c:pt idx="915">
                  <c:v>-545</c:v>
                </c:pt>
                <c:pt idx="916">
                  <c:v>-544</c:v>
                </c:pt>
                <c:pt idx="917">
                  <c:v>-543</c:v>
                </c:pt>
                <c:pt idx="918">
                  <c:v>-542</c:v>
                </c:pt>
                <c:pt idx="919">
                  <c:v>-541</c:v>
                </c:pt>
                <c:pt idx="920">
                  <c:v>-540</c:v>
                </c:pt>
                <c:pt idx="921">
                  <c:v>-539</c:v>
                </c:pt>
                <c:pt idx="922">
                  <c:v>-538</c:v>
                </c:pt>
                <c:pt idx="923">
                  <c:v>-537</c:v>
                </c:pt>
                <c:pt idx="924">
                  <c:v>-536</c:v>
                </c:pt>
                <c:pt idx="925">
                  <c:v>-535</c:v>
                </c:pt>
                <c:pt idx="926">
                  <c:v>-534</c:v>
                </c:pt>
                <c:pt idx="927">
                  <c:v>-533</c:v>
                </c:pt>
                <c:pt idx="928">
                  <c:v>-532</c:v>
                </c:pt>
                <c:pt idx="929">
                  <c:v>-531</c:v>
                </c:pt>
                <c:pt idx="930">
                  <c:v>-530</c:v>
                </c:pt>
                <c:pt idx="931">
                  <c:v>-529</c:v>
                </c:pt>
                <c:pt idx="932">
                  <c:v>-528</c:v>
                </c:pt>
                <c:pt idx="933">
                  <c:v>-527</c:v>
                </c:pt>
                <c:pt idx="934">
                  <c:v>-526</c:v>
                </c:pt>
                <c:pt idx="935">
                  <c:v>-525</c:v>
                </c:pt>
                <c:pt idx="936">
                  <c:v>-524</c:v>
                </c:pt>
                <c:pt idx="937">
                  <c:v>-523</c:v>
                </c:pt>
                <c:pt idx="938">
                  <c:v>-522</c:v>
                </c:pt>
                <c:pt idx="939">
                  <c:v>-521</c:v>
                </c:pt>
                <c:pt idx="940">
                  <c:v>-520</c:v>
                </c:pt>
                <c:pt idx="941">
                  <c:v>-519</c:v>
                </c:pt>
                <c:pt idx="942">
                  <c:v>-518</c:v>
                </c:pt>
                <c:pt idx="943">
                  <c:v>-517</c:v>
                </c:pt>
                <c:pt idx="944">
                  <c:v>-516</c:v>
                </c:pt>
                <c:pt idx="945">
                  <c:v>-515</c:v>
                </c:pt>
                <c:pt idx="946">
                  <c:v>-514</c:v>
                </c:pt>
                <c:pt idx="947">
                  <c:v>-513</c:v>
                </c:pt>
                <c:pt idx="948">
                  <c:v>-512</c:v>
                </c:pt>
                <c:pt idx="949">
                  <c:v>-511</c:v>
                </c:pt>
                <c:pt idx="950">
                  <c:v>-510</c:v>
                </c:pt>
                <c:pt idx="951">
                  <c:v>-509</c:v>
                </c:pt>
                <c:pt idx="952">
                  <c:v>-508</c:v>
                </c:pt>
                <c:pt idx="953">
                  <c:v>-507</c:v>
                </c:pt>
                <c:pt idx="954">
                  <c:v>-506</c:v>
                </c:pt>
                <c:pt idx="955">
                  <c:v>-505</c:v>
                </c:pt>
                <c:pt idx="956">
                  <c:v>-504</c:v>
                </c:pt>
                <c:pt idx="957">
                  <c:v>-503</c:v>
                </c:pt>
                <c:pt idx="958">
                  <c:v>-502</c:v>
                </c:pt>
                <c:pt idx="959">
                  <c:v>-501</c:v>
                </c:pt>
                <c:pt idx="960">
                  <c:v>-500</c:v>
                </c:pt>
                <c:pt idx="961">
                  <c:v>-499</c:v>
                </c:pt>
                <c:pt idx="962">
                  <c:v>-498</c:v>
                </c:pt>
                <c:pt idx="963">
                  <c:v>-497</c:v>
                </c:pt>
                <c:pt idx="964">
                  <c:v>-496</c:v>
                </c:pt>
                <c:pt idx="965">
                  <c:v>-495</c:v>
                </c:pt>
                <c:pt idx="966">
                  <c:v>-494</c:v>
                </c:pt>
                <c:pt idx="967">
                  <c:v>-493</c:v>
                </c:pt>
                <c:pt idx="968">
                  <c:v>-492</c:v>
                </c:pt>
                <c:pt idx="969">
                  <c:v>-491</c:v>
                </c:pt>
                <c:pt idx="970">
                  <c:v>-490</c:v>
                </c:pt>
                <c:pt idx="971">
                  <c:v>-489</c:v>
                </c:pt>
                <c:pt idx="972">
                  <c:v>-488</c:v>
                </c:pt>
                <c:pt idx="973">
                  <c:v>-487</c:v>
                </c:pt>
                <c:pt idx="974">
                  <c:v>-486</c:v>
                </c:pt>
                <c:pt idx="975">
                  <c:v>-485</c:v>
                </c:pt>
                <c:pt idx="976">
                  <c:v>-484</c:v>
                </c:pt>
                <c:pt idx="977">
                  <c:v>-483</c:v>
                </c:pt>
                <c:pt idx="978">
                  <c:v>-482</c:v>
                </c:pt>
                <c:pt idx="979">
                  <c:v>-481</c:v>
                </c:pt>
                <c:pt idx="980">
                  <c:v>-480</c:v>
                </c:pt>
                <c:pt idx="981">
                  <c:v>-479</c:v>
                </c:pt>
                <c:pt idx="982">
                  <c:v>-478</c:v>
                </c:pt>
                <c:pt idx="983">
                  <c:v>-477</c:v>
                </c:pt>
                <c:pt idx="984">
                  <c:v>-476</c:v>
                </c:pt>
                <c:pt idx="985">
                  <c:v>-475</c:v>
                </c:pt>
                <c:pt idx="986">
                  <c:v>-474</c:v>
                </c:pt>
                <c:pt idx="987">
                  <c:v>-473</c:v>
                </c:pt>
                <c:pt idx="988">
                  <c:v>-472</c:v>
                </c:pt>
                <c:pt idx="989">
                  <c:v>-471</c:v>
                </c:pt>
                <c:pt idx="990">
                  <c:v>-470</c:v>
                </c:pt>
                <c:pt idx="991">
                  <c:v>-469</c:v>
                </c:pt>
                <c:pt idx="992">
                  <c:v>-468</c:v>
                </c:pt>
                <c:pt idx="993">
                  <c:v>-467</c:v>
                </c:pt>
                <c:pt idx="994">
                  <c:v>-466</c:v>
                </c:pt>
                <c:pt idx="995">
                  <c:v>-465</c:v>
                </c:pt>
                <c:pt idx="996">
                  <c:v>-464</c:v>
                </c:pt>
                <c:pt idx="997">
                  <c:v>-463</c:v>
                </c:pt>
                <c:pt idx="998">
                  <c:v>-462</c:v>
                </c:pt>
                <c:pt idx="999">
                  <c:v>-461</c:v>
                </c:pt>
                <c:pt idx="1000">
                  <c:v>-460</c:v>
                </c:pt>
                <c:pt idx="1001">
                  <c:v>-459</c:v>
                </c:pt>
                <c:pt idx="1002">
                  <c:v>-458</c:v>
                </c:pt>
                <c:pt idx="1003">
                  <c:v>-457</c:v>
                </c:pt>
                <c:pt idx="1004">
                  <c:v>-456</c:v>
                </c:pt>
                <c:pt idx="1005">
                  <c:v>-455</c:v>
                </c:pt>
                <c:pt idx="1006">
                  <c:v>-454</c:v>
                </c:pt>
                <c:pt idx="1007">
                  <c:v>-453</c:v>
                </c:pt>
                <c:pt idx="1008">
                  <c:v>-452</c:v>
                </c:pt>
                <c:pt idx="1009">
                  <c:v>-451</c:v>
                </c:pt>
                <c:pt idx="1010">
                  <c:v>-450</c:v>
                </c:pt>
                <c:pt idx="1011">
                  <c:v>-449</c:v>
                </c:pt>
                <c:pt idx="1012">
                  <c:v>-448</c:v>
                </c:pt>
                <c:pt idx="1013">
                  <c:v>-447</c:v>
                </c:pt>
                <c:pt idx="1014">
                  <c:v>-446</c:v>
                </c:pt>
                <c:pt idx="1015">
                  <c:v>-445</c:v>
                </c:pt>
                <c:pt idx="1016">
                  <c:v>-444</c:v>
                </c:pt>
                <c:pt idx="1017">
                  <c:v>-443</c:v>
                </c:pt>
                <c:pt idx="1018">
                  <c:v>-442</c:v>
                </c:pt>
                <c:pt idx="1019">
                  <c:v>-441</c:v>
                </c:pt>
                <c:pt idx="1020">
                  <c:v>-440</c:v>
                </c:pt>
                <c:pt idx="1021">
                  <c:v>-439</c:v>
                </c:pt>
                <c:pt idx="1022">
                  <c:v>-438</c:v>
                </c:pt>
                <c:pt idx="1023">
                  <c:v>-437</c:v>
                </c:pt>
                <c:pt idx="1024">
                  <c:v>-436</c:v>
                </c:pt>
                <c:pt idx="1025">
                  <c:v>-435</c:v>
                </c:pt>
                <c:pt idx="1026">
                  <c:v>-434</c:v>
                </c:pt>
                <c:pt idx="1027">
                  <c:v>-433</c:v>
                </c:pt>
                <c:pt idx="1028">
                  <c:v>-432</c:v>
                </c:pt>
                <c:pt idx="1029">
                  <c:v>-431</c:v>
                </c:pt>
                <c:pt idx="1030">
                  <c:v>-430</c:v>
                </c:pt>
                <c:pt idx="1031">
                  <c:v>-429</c:v>
                </c:pt>
                <c:pt idx="1032">
                  <c:v>-428</c:v>
                </c:pt>
                <c:pt idx="1033">
                  <c:v>-427</c:v>
                </c:pt>
                <c:pt idx="1034">
                  <c:v>-426</c:v>
                </c:pt>
                <c:pt idx="1035">
                  <c:v>-425</c:v>
                </c:pt>
                <c:pt idx="1036">
                  <c:v>-424</c:v>
                </c:pt>
                <c:pt idx="1037">
                  <c:v>-423</c:v>
                </c:pt>
                <c:pt idx="1038">
                  <c:v>-422</c:v>
                </c:pt>
                <c:pt idx="1039">
                  <c:v>-421</c:v>
                </c:pt>
                <c:pt idx="1040">
                  <c:v>-420</c:v>
                </c:pt>
                <c:pt idx="1041">
                  <c:v>-419</c:v>
                </c:pt>
                <c:pt idx="1042">
                  <c:v>-418</c:v>
                </c:pt>
                <c:pt idx="1043">
                  <c:v>-417</c:v>
                </c:pt>
                <c:pt idx="1044">
                  <c:v>-416</c:v>
                </c:pt>
                <c:pt idx="1045">
                  <c:v>-415</c:v>
                </c:pt>
                <c:pt idx="1046">
                  <c:v>-414</c:v>
                </c:pt>
                <c:pt idx="1047">
                  <c:v>-413</c:v>
                </c:pt>
                <c:pt idx="1048">
                  <c:v>-412</c:v>
                </c:pt>
                <c:pt idx="1049">
                  <c:v>-411</c:v>
                </c:pt>
                <c:pt idx="1050">
                  <c:v>-410</c:v>
                </c:pt>
                <c:pt idx="1051">
                  <c:v>-409</c:v>
                </c:pt>
                <c:pt idx="1052">
                  <c:v>-408</c:v>
                </c:pt>
                <c:pt idx="1053">
                  <c:v>-407</c:v>
                </c:pt>
                <c:pt idx="1054">
                  <c:v>-406</c:v>
                </c:pt>
                <c:pt idx="1055">
                  <c:v>-405</c:v>
                </c:pt>
                <c:pt idx="1056">
                  <c:v>-404</c:v>
                </c:pt>
                <c:pt idx="1057">
                  <c:v>-403</c:v>
                </c:pt>
                <c:pt idx="1058">
                  <c:v>-402</c:v>
                </c:pt>
                <c:pt idx="1059">
                  <c:v>-401</c:v>
                </c:pt>
                <c:pt idx="1060">
                  <c:v>-400</c:v>
                </c:pt>
                <c:pt idx="1061">
                  <c:v>-399</c:v>
                </c:pt>
                <c:pt idx="1062">
                  <c:v>-398</c:v>
                </c:pt>
                <c:pt idx="1063">
                  <c:v>-397</c:v>
                </c:pt>
                <c:pt idx="1064">
                  <c:v>-396</c:v>
                </c:pt>
                <c:pt idx="1065">
                  <c:v>-395</c:v>
                </c:pt>
                <c:pt idx="1066">
                  <c:v>-394</c:v>
                </c:pt>
                <c:pt idx="1067">
                  <c:v>-393</c:v>
                </c:pt>
                <c:pt idx="1068">
                  <c:v>-392</c:v>
                </c:pt>
                <c:pt idx="1069">
                  <c:v>-391</c:v>
                </c:pt>
                <c:pt idx="1070">
                  <c:v>-390</c:v>
                </c:pt>
                <c:pt idx="1071">
                  <c:v>-389</c:v>
                </c:pt>
                <c:pt idx="1072">
                  <c:v>-388</c:v>
                </c:pt>
                <c:pt idx="1073">
                  <c:v>-387</c:v>
                </c:pt>
                <c:pt idx="1074">
                  <c:v>-386</c:v>
                </c:pt>
                <c:pt idx="1075">
                  <c:v>-385</c:v>
                </c:pt>
                <c:pt idx="1076">
                  <c:v>-384</c:v>
                </c:pt>
                <c:pt idx="1077">
                  <c:v>-383</c:v>
                </c:pt>
                <c:pt idx="1078">
                  <c:v>-382</c:v>
                </c:pt>
                <c:pt idx="1079">
                  <c:v>-381</c:v>
                </c:pt>
                <c:pt idx="1080">
                  <c:v>-380</c:v>
                </c:pt>
                <c:pt idx="1081">
                  <c:v>-379</c:v>
                </c:pt>
                <c:pt idx="1082">
                  <c:v>-378</c:v>
                </c:pt>
                <c:pt idx="1083">
                  <c:v>-377</c:v>
                </c:pt>
                <c:pt idx="1084">
                  <c:v>-376</c:v>
                </c:pt>
                <c:pt idx="1085">
                  <c:v>-375</c:v>
                </c:pt>
                <c:pt idx="1086">
                  <c:v>-374</c:v>
                </c:pt>
                <c:pt idx="1087">
                  <c:v>-373</c:v>
                </c:pt>
                <c:pt idx="1088">
                  <c:v>-372</c:v>
                </c:pt>
                <c:pt idx="1089">
                  <c:v>-371</c:v>
                </c:pt>
                <c:pt idx="1090">
                  <c:v>-370</c:v>
                </c:pt>
                <c:pt idx="1091">
                  <c:v>-369</c:v>
                </c:pt>
                <c:pt idx="1092">
                  <c:v>-368</c:v>
                </c:pt>
                <c:pt idx="1093">
                  <c:v>-367</c:v>
                </c:pt>
                <c:pt idx="1094">
                  <c:v>-366</c:v>
                </c:pt>
                <c:pt idx="1095">
                  <c:v>-365</c:v>
                </c:pt>
                <c:pt idx="1096">
                  <c:v>-364</c:v>
                </c:pt>
                <c:pt idx="1097">
                  <c:v>-363</c:v>
                </c:pt>
                <c:pt idx="1098">
                  <c:v>-362</c:v>
                </c:pt>
                <c:pt idx="1099">
                  <c:v>-361</c:v>
                </c:pt>
                <c:pt idx="1100">
                  <c:v>-360</c:v>
                </c:pt>
                <c:pt idx="1101">
                  <c:v>-359</c:v>
                </c:pt>
                <c:pt idx="1102">
                  <c:v>-358</c:v>
                </c:pt>
                <c:pt idx="1103">
                  <c:v>-357</c:v>
                </c:pt>
                <c:pt idx="1104">
                  <c:v>-356</c:v>
                </c:pt>
                <c:pt idx="1105">
                  <c:v>-355</c:v>
                </c:pt>
                <c:pt idx="1106">
                  <c:v>-354</c:v>
                </c:pt>
                <c:pt idx="1107">
                  <c:v>-353</c:v>
                </c:pt>
                <c:pt idx="1108">
                  <c:v>-352</c:v>
                </c:pt>
                <c:pt idx="1109">
                  <c:v>-351</c:v>
                </c:pt>
                <c:pt idx="1110">
                  <c:v>-350</c:v>
                </c:pt>
                <c:pt idx="1111">
                  <c:v>-349</c:v>
                </c:pt>
                <c:pt idx="1112">
                  <c:v>-348</c:v>
                </c:pt>
                <c:pt idx="1113">
                  <c:v>-347</c:v>
                </c:pt>
                <c:pt idx="1114">
                  <c:v>-346</c:v>
                </c:pt>
                <c:pt idx="1115">
                  <c:v>-345</c:v>
                </c:pt>
                <c:pt idx="1116">
                  <c:v>-344</c:v>
                </c:pt>
                <c:pt idx="1117">
                  <c:v>-343</c:v>
                </c:pt>
                <c:pt idx="1118">
                  <c:v>-342</c:v>
                </c:pt>
                <c:pt idx="1119">
                  <c:v>-341</c:v>
                </c:pt>
                <c:pt idx="1120">
                  <c:v>-340</c:v>
                </c:pt>
                <c:pt idx="1121">
                  <c:v>-339</c:v>
                </c:pt>
                <c:pt idx="1122">
                  <c:v>-338</c:v>
                </c:pt>
                <c:pt idx="1123">
                  <c:v>-337</c:v>
                </c:pt>
                <c:pt idx="1124">
                  <c:v>-336</c:v>
                </c:pt>
                <c:pt idx="1125">
                  <c:v>-335</c:v>
                </c:pt>
                <c:pt idx="1126">
                  <c:v>-334</c:v>
                </c:pt>
                <c:pt idx="1127">
                  <c:v>-333</c:v>
                </c:pt>
                <c:pt idx="1128">
                  <c:v>-332</c:v>
                </c:pt>
                <c:pt idx="1129">
                  <c:v>-331</c:v>
                </c:pt>
                <c:pt idx="1130">
                  <c:v>-330</c:v>
                </c:pt>
                <c:pt idx="1131">
                  <c:v>-329</c:v>
                </c:pt>
                <c:pt idx="1132">
                  <c:v>-328</c:v>
                </c:pt>
                <c:pt idx="1133">
                  <c:v>-327</c:v>
                </c:pt>
                <c:pt idx="1134">
                  <c:v>-326</c:v>
                </c:pt>
                <c:pt idx="1135">
                  <c:v>-325</c:v>
                </c:pt>
                <c:pt idx="1136">
                  <c:v>-324</c:v>
                </c:pt>
                <c:pt idx="1137">
                  <c:v>-323</c:v>
                </c:pt>
                <c:pt idx="1138">
                  <c:v>-322</c:v>
                </c:pt>
                <c:pt idx="1139">
                  <c:v>-321</c:v>
                </c:pt>
                <c:pt idx="1140">
                  <c:v>-320</c:v>
                </c:pt>
                <c:pt idx="1141">
                  <c:v>-319</c:v>
                </c:pt>
                <c:pt idx="1142">
                  <c:v>-318</c:v>
                </c:pt>
                <c:pt idx="1143">
                  <c:v>-317</c:v>
                </c:pt>
                <c:pt idx="1144">
                  <c:v>-316</c:v>
                </c:pt>
                <c:pt idx="1145">
                  <c:v>-315</c:v>
                </c:pt>
                <c:pt idx="1146">
                  <c:v>-314</c:v>
                </c:pt>
                <c:pt idx="1147">
                  <c:v>-313</c:v>
                </c:pt>
                <c:pt idx="1148">
                  <c:v>-312</c:v>
                </c:pt>
                <c:pt idx="1149">
                  <c:v>-311</c:v>
                </c:pt>
                <c:pt idx="1150">
                  <c:v>-310</c:v>
                </c:pt>
                <c:pt idx="1151">
                  <c:v>-309</c:v>
                </c:pt>
                <c:pt idx="1152">
                  <c:v>-308</c:v>
                </c:pt>
                <c:pt idx="1153">
                  <c:v>-307</c:v>
                </c:pt>
                <c:pt idx="1154">
                  <c:v>-306</c:v>
                </c:pt>
                <c:pt idx="1155">
                  <c:v>-305</c:v>
                </c:pt>
                <c:pt idx="1156">
                  <c:v>-304</c:v>
                </c:pt>
                <c:pt idx="1157">
                  <c:v>-303</c:v>
                </c:pt>
                <c:pt idx="1158">
                  <c:v>-302</c:v>
                </c:pt>
                <c:pt idx="1159">
                  <c:v>-301</c:v>
                </c:pt>
                <c:pt idx="1160">
                  <c:v>-300</c:v>
                </c:pt>
                <c:pt idx="1161">
                  <c:v>-299</c:v>
                </c:pt>
                <c:pt idx="1162">
                  <c:v>-298</c:v>
                </c:pt>
                <c:pt idx="1163">
                  <c:v>-297</c:v>
                </c:pt>
                <c:pt idx="1164">
                  <c:v>-296</c:v>
                </c:pt>
                <c:pt idx="1165">
                  <c:v>-295</c:v>
                </c:pt>
                <c:pt idx="1166">
                  <c:v>-294</c:v>
                </c:pt>
                <c:pt idx="1167">
                  <c:v>-293</c:v>
                </c:pt>
                <c:pt idx="1168">
                  <c:v>-292</c:v>
                </c:pt>
                <c:pt idx="1169">
                  <c:v>-291</c:v>
                </c:pt>
                <c:pt idx="1170">
                  <c:v>-290</c:v>
                </c:pt>
                <c:pt idx="1171">
                  <c:v>-289</c:v>
                </c:pt>
                <c:pt idx="1172">
                  <c:v>-288</c:v>
                </c:pt>
                <c:pt idx="1173">
                  <c:v>-287</c:v>
                </c:pt>
                <c:pt idx="1174">
                  <c:v>-286</c:v>
                </c:pt>
                <c:pt idx="1175">
                  <c:v>-285</c:v>
                </c:pt>
                <c:pt idx="1176">
                  <c:v>-284</c:v>
                </c:pt>
                <c:pt idx="1177">
                  <c:v>-283</c:v>
                </c:pt>
                <c:pt idx="1178">
                  <c:v>-282</c:v>
                </c:pt>
                <c:pt idx="1179">
                  <c:v>-281</c:v>
                </c:pt>
                <c:pt idx="1180">
                  <c:v>-280</c:v>
                </c:pt>
                <c:pt idx="1181">
                  <c:v>-279</c:v>
                </c:pt>
                <c:pt idx="1182">
                  <c:v>-278</c:v>
                </c:pt>
                <c:pt idx="1183">
                  <c:v>-277</c:v>
                </c:pt>
                <c:pt idx="1184">
                  <c:v>-276</c:v>
                </c:pt>
                <c:pt idx="1185">
                  <c:v>-275</c:v>
                </c:pt>
                <c:pt idx="1186">
                  <c:v>-274</c:v>
                </c:pt>
                <c:pt idx="1187">
                  <c:v>-273</c:v>
                </c:pt>
                <c:pt idx="1188">
                  <c:v>-272</c:v>
                </c:pt>
                <c:pt idx="1189">
                  <c:v>-271</c:v>
                </c:pt>
                <c:pt idx="1190">
                  <c:v>-270</c:v>
                </c:pt>
                <c:pt idx="1191">
                  <c:v>-269</c:v>
                </c:pt>
                <c:pt idx="1192">
                  <c:v>-268</c:v>
                </c:pt>
                <c:pt idx="1193">
                  <c:v>-267</c:v>
                </c:pt>
                <c:pt idx="1194">
                  <c:v>-266</c:v>
                </c:pt>
                <c:pt idx="1195">
                  <c:v>-265</c:v>
                </c:pt>
                <c:pt idx="1196">
                  <c:v>-264</c:v>
                </c:pt>
                <c:pt idx="1197">
                  <c:v>-263</c:v>
                </c:pt>
                <c:pt idx="1198">
                  <c:v>-262</c:v>
                </c:pt>
                <c:pt idx="1199">
                  <c:v>-261</c:v>
                </c:pt>
                <c:pt idx="1200">
                  <c:v>-260</c:v>
                </c:pt>
                <c:pt idx="1201">
                  <c:v>-259</c:v>
                </c:pt>
                <c:pt idx="1202">
                  <c:v>-258</c:v>
                </c:pt>
                <c:pt idx="1203">
                  <c:v>-257</c:v>
                </c:pt>
                <c:pt idx="1204">
                  <c:v>-256</c:v>
                </c:pt>
                <c:pt idx="1205">
                  <c:v>-255</c:v>
                </c:pt>
                <c:pt idx="1206">
                  <c:v>-254</c:v>
                </c:pt>
                <c:pt idx="1207">
                  <c:v>-253</c:v>
                </c:pt>
                <c:pt idx="1208">
                  <c:v>-252</c:v>
                </c:pt>
                <c:pt idx="1209">
                  <c:v>-251</c:v>
                </c:pt>
                <c:pt idx="1210">
                  <c:v>-250</c:v>
                </c:pt>
                <c:pt idx="1211">
                  <c:v>-249</c:v>
                </c:pt>
                <c:pt idx="1212">
                  <c:v>-248</c:v>
                </c:pt>
                <c:pt idx="1213">
                  <c:v>-247</c:v>
                </c:pt>
                <c:pt idx="1214">
                  <c:v>-246</c:v>
                </c:pt>
                <c:pt idx="1215">
                  <c:v>-245</c:v>
                </c:pt>
                <c:pt idx="1216">
                  <c:v>-244</c:v>
                </c:pt>
                <c:pt idx="1217">
                  <c:v>-243</c:v>
                </c:pt>
                <c:pt idx="1218">
                  <c:v>-242</c:v>
                </c:pt>
                <c:pt idx="1219">
                  <c:v>-241</c:v>
                </c:pt>
                <c:pt idx="1220">
                  <c:v>-240</c:v>
                </c:pt>
                <c:pt idx="1221">
                  <c:v>-239</c:v>
                </c:pt>
                <c:pt idx="1222">
                  <c:v>-238</c:v>
                </c:pt>
                <c:pt idx="1223">
                  <c:v>-237</c:v>
                </c:pt>
                <c:pt idx="1224">
                  <c:v>-236</c:v>
                </c:pt>
                <c:pt idx="1225">
                  <c:v>-235</c:v>
                </c:pt>
                <c:pt idx="1226">
                  <c:v>-234</c:v>
                </c:pt>
                <c:pt idx="1227">
                  <c:v>-233</c:v>
                </c:pt>
                <c:pt idx="1228">
                  <c:v>-232</c:v>
                </c:pt>
                <c:pt idx="1229">
                  <c:v>-231</c:v>
                </c:pt>
                <c:pt idx="1230">
                  <c:v>-230</c:v>
                </c:pt>
                <c:pt idx="1231">
                  <c:v>-229</c:v>
                </c:pt>
                <c:pt idx="1232">
                  <c:v>-228</c:v>
                </c:pt>
                <c:pt idx="1233">
                  <c:v>-227</c:v>
                </c:pt>
                <c:pt idx="1234">
                  <c:v>-226</c:v>
                </c:pt>
                <c:pt idx="1235">
                  <c:v>-225</c:v>
                </c:pt>
                <c:pt idx="1236">
                  <c:v>-224</c:v>
                </c:pt>
                <c:pt idx="1237">
                  <c:v>-223</c:v>
                </c:pt>
                <c:pt idx="1238">
                  <c:v>-222</c:v>
                </c:pt>
                <c:pt idx="1239">
                  <c:v>-221</c:v>
                </c:pt>
                <c:pt idx="1240">
                  <c:v>-220</c:v>
                </c:pt>
                <c:pt idx="1241">
                  <c:v>-219</c:v>
                </c:pt>
                <c:pt idx="1242">
                  <c:v>-218</c:v>
                </c:pt>
                <c:pt idx="1243">
                  <c:v>-217</c:v>
                </c:pt>
                <c:pt idx="1244">
                  <c:v>-216</c:v>
                </c:pt>
                <c:pt idx="1245">
                  <c:v>-215</c:v>
                </c:pt>
                <c:pt idx="1246">
                  <c:v>-214</c:v>
                </c:pt>
                <c:pt idx="1247">
                  <c:v>-213</c:v>
                </c:pt>
                <c:pt idx="1248">
                  <c:v>-212</c:v>
                </c:pt>
                <c:pt idx="1249">
                  <c:v>-211</c:v>
                </c:pt>
                <c:pt idx="1250">
                  <c:v>-210</c:v>
                </c:pt>
                <c:pt idx="1251">
                  <c:v>-209</c:v>
                </c:pt>
                <c:pt idx="1252">
                  <c:v>-208</c:v>
                </c:pt>
                <c:pt idx="1253">
                  <c:v>-207</c:v>
                </c:pt>
                <c:pt idx="1254">
                  <c:v>-206</c:v>
                </c:pt>
                <c:pt idx="1255">
                  <c:v>-205</c:v>
                </c:pt>
                <c:pt idx="1256">
                  <c:v>-204</c:v>
                </c:pt>
                <c:pt idx="1257">
                  <c:v>-203</c:v>
                </c:pt>
                <c:pt idx="1258">
                  <c:v>-202</c:v>
                </c:pt>
                <c:pt idx="1259">
                  <c:v>-201</c:v>
                </c:pt>
                <c:pt idx="1260">
                  <c:v>-200</c:v>
                </c:pt>
                <c:pt idx="1261">
                  <c:v>-199</c:v>
                </c:pt>
                <c:pt idx="1262">
                  <c:v>-198</c:v>
                </c:pt>
                <c:pt idx="1263">
                  <c:v>-197</c:v>
                </c:pt>
                <c:pt idx="1264">
                  <c:v>-196</c:v>
                </c:pt>
                <c:pt idx="1265">
                  <c:v>-195</c:v>
                </c:pt>
                <c:pt idx="1266">
                  <c:v>-194</c:v>
                </c:pt>
                <c:pt idx="1267">
                  <c:v>-193</c:v>
                </c:pt>
                <c:pt idx="1268">
                  <c:v>-192</c:v>
                </c:pt>
                <c:pt idx="1269">
                  <c:v>-191</c:v>
                </c:pt>
                <c:pt idx="1270">
                  <c:v>-190</c:v>
                </c:pt>
                <c:pt idx="1271">
                  <c:v>-189</c:v>
                </c:pt>
                <c:pt idx="1272">
                  <c:v>-188</c:v>
                </c:pt>
                <c:pt idx="1273">
                  <c:v>-187</c:v>
                </c:pt>
                <c:pt idx="1274">
                  <c:v>-186</c:v>
                </c:pt>
                <c:pt idx="1275">
                  <c:v>-185</c:v>
                </c:pt>
                <c:pt idx="1276">
                  <c:v>-184</c:v>
                </c:pt>
                <c:pt idx="1277">
                  <c:v>-183</c:v>
                </c:pt>
                <c:pt idx="1278">
                  <c:v>-182</c:v>
                </c:pt>
                <c:pt idx="1279">
                  <c:v>-181</c:v>
                </c:pt>
                <c:pt idx="1280">
                  <c:v>-180</c:v>
                </c:pt>
                <c:pt idx="1281">
                  <c:v>-179</c:v>
                </c:pt>
                <c:pt idx="1282">
                  <c:v>-178</c:v>
                </c:pt>
                <c:pt idx="1283">
                  <c:v>-177</c:v>
                </c:pt>
                <c:pt idx="1284">
                  <c:v>-176</c:v>
                </c:pt>
                <c:pt idx="1285">
                  <c:v>-175</c:v>
                </c:pt>
                <c:pt idx="1286">
                  <c:v>-174</c:v>
                </c:pt>
                <c:pt idx="1287">
                  <c:v>-173</c:v>
                </c:pt>
                <c:pt idx="1288">
                  <c:v>-172</c:v>
                </c:pt>
                <c:pt idx="1289">
                  <c:v>-171</c:v>
                </c:pt>
                <c:pt idx="1290">
                  <c:v>-170</c:v>
                </c:pt>
                <c:pt idx="1291">
                  <c:v>-169</c:v>
                </c:pt>
                <c:pt idx="1292">
                  <c:v>-168</c:v>
                </c:pt>
                <c:pt idx="1293">
                  <c:v>-167</c:v>
                </c:pt>
                <c:pt idx="1294">
                  <c:v>-166</c:v>
                </c:pt>
                <c:pt idx="1295">
                  <c:v>-165</c:v>
                </c:pt>
                <c:pt idx="1296">
                  <c:v>-164</c:v>
                </c:pt>
                <c:pt idx="1297">
                  <c:v>-163</c:v>
                </c:pt>
                <c:pt idx="1298">
                  <c:v>-162</c:v>
                </c:pt>
                <c:pt idx="1299">
                  <c:v>-161</c:v>
                </c:pt>
                <c:pt idx="1300">
                  <c:v>-160</c:v>
                </c:pt>
                <c:pt idx="1301">
                  <c:v>-159</c:v>
                </c:pt>
                <c:pt idx="1302">
                  <c:v>-158</c:v>
                </c:pt>
                <c:pt idx="1303">
                  <c:v>-157</c:v>
                </c:pt>
                <c:pt idx="1304">
                  <c:v>-156</c:v>
                </c:pt>
                <c:pt idx="1305">
                  <c:v>-155</c:v>
                </c:pt>
                <c:pt idx="1306">
                  <c:v>-154</c:v>
                </c:pt>
                <c:pt idx="1307">
                  <c:v>-153</c:v>
                </c:pt>
                <c:pt idx="1308">
                  <c:v>-152</c:v>
                </c:pt>
                <c:pt idx="1309">
                  <c:v>-151</c:v>
                </c:pt>
                <c:pt idx="1310">
                  <c:v>-150</c:v>
                </c:pt>
                <c:pt idx="1311">
                  <c:v>-149</c:v>
                </c:pt>
                <c:pt idx="1312">
                  <c:v>-148</c:v>
                </c:pt>
                <c:pt idx="1313">
                  <c:v>-147</c:v>
                </c:pt>
                <c:pt idx="1314">
                  <c:v>-146</c:v>
                </c:pt>
                <c:pt idx="1315">
                  <c:v>-145</c:v>
                </c:pt>
                <c:pt idx="1316">
                  <c:v>-144</c:v>
                </c:pt>
                <c:pt idx="1317">
                  <c:v>-143</c:v>
                </c:pt>
                <c:pt idx="1318">
                  <c:v>-142</c:v>
                </c:pt>
                <c:pt idx="1319">
                  <c:v>-141</c:v>
                </c:pt>
                <c:pt idx="1320">
                  <c:v>-140</c:v>
                </c:pt>
                <c:pt idx="1321">
                  <c:v>-139</c:v>
                </c:pt>
                <c:pt idx="1322">
                  <c:v>-138</c:v>
                </c:pt>
                <c:pt idx="1323">
                  <c:v>-137</c:v>
                </c:pt>
                <c:pt idx="1324">
                  <c:v>-136</c:v>
                </c:pt>
                <c:pt idx="1325">
                  <c:v>-135</c:v>
                </c:pt>
                <c:pt idx="1326">
                  <c:v>-134</c:v>
                </c:pt>
                <c:pt idx="1327">
                  <c:v>-133</c:v>
                </c:pt>
                <c:pt idx="1328">
                  <c:v>-132</c:v>
                </c:pt>
                <c:pt idx="1329">
                  <c:v>-131</c:v>
                </c:pt>
                <c:pt idx="1330">
                  <c:v>-130</c:v>
                </c:pt>
                <c:pt idx="1331">
                  <c:v>-129</c:v>
                </c:pt>
                <c:pt idx="1332">
                  <c:v>-128</c:v>
                </c:pt>
                <c:pt idx="1333">
                  <c:v>-127</c:v>
                </c:pt>
                <c:pt idx="1334">
                  <c:v>-126</c:v>
                </c:pt>
                <c:pt idx="1335">
                  <c:v>-125</c:v>
                </c:pt>
                <c:pt idx="1336">
                  <c:v>-124</c:v>
                </c:pt>
                <c:pt idx="1337">
                  <c:v>-123</c:v>
                </c:pt>
                <c:pt idx="1338">
                  <c:v>-122</c:v>
                </c:pt>
                <c:pt idx="1339">
                  <c:v>-121</c:v>
                </c:pt>
                <c:pt idx="1340">
                  <c:v>-120</c:v>
                </c:pt>
                <c:pt idx="1341">
                  <c:v>-119</c:v>
                </c:pt>
                <c:pt idx="1342">
                  <c:v>-118</c:v>
                </c:pt>
                <c:pt idx="1343">
                  <c:v>-117</c:v>
                </c:pt>
                <c:pt idx="1344">
                  <c:v>-116</c:v>
                </c:pt>
                <c:pt idx="1345">
                  <c:v>-115</c:v>
                </c:pt>
                <c:pt idx="1346">
                  <c:v>-114</c:v>
                </c:pt>
                <c:pt idx="1347">
                  <c:v>-113</c:v>
                </c:pt>
                <c:pt idx="1348">
                  <c:v>-112</c:v>
                </c:pt>
                <c:pt idx="1349">
                  <c:v>-111</c:v>
                </c:pt>
                <c:pt idx="1350">
                  <c:v>-110</c:v>
                </c:pt>
                <c:pt idx="1351">
                  <c:v>-109</c:v>
                </c:pt>
                <c:pt idx="1352">
                  <c:v>-108</c:v>
                </c:pt>
                <c:pt idx="1353">
                  <c:v>-107</c:v>
                </c:pt>
                <c:pt idx="1354">
                  <c:v>-106</c:v>
                </c:pt>
                <c:pt idx="1355">
                  <c:v>-105</c:v>
                </c:pt>
                <c:pt idx="1356">
                  <c:v>-104</c:v>
                </c:pt>
                <c:pt idx="1357">
                  <c:v>-103</c:v>
                </c:pt>
                <c:pt idx="1358">
                  <c:v>-102</c:v>
                </c:pt>
                <c:pt idx="1359">
                  <c:v>-101</c:v>
                </c:pt>
                <c:pt idx="1360">
                  <c:v>-100</c:v>
                </c:pt>
                <c:pt idx="1361">
                  <c:v>-99</c:v>
                </c:pt>
                <c:pt idx="1362">
                  <c:v>-98</c:v>
                </c:pt>
                <c:pt idx="1363">
                  <c:v>-97</c:v>
                </c:pt>
                <c:pt idx="1364">
                  <c:v>-96</c:v>
                </c:pt>
                <c:pt idx="1365">
                  <c:v>-95</c:v>
                </c:pt>
                <c:pt idx="1366">
                  <c:v>-94</c:v>
                </c:pt>
                <c:pt idx="1367">
                  <c:v>-93</c:v>
                </c:pt>
                <c:pt idx="1368">
                  <c:v>-92</c:v>
                </c:pt>
                <c:pt idx="1369">
                  <c:v>-91</c:v>
                </c:pt>
                <c:pt idx="1370">
                  <c:v>-90</c:v>
                </c:pt>
                <c:pt idx="1371">
                  <c:v>-89</c:v>
                </c:pt>
                <c:pt idx="1372">
                  <c:v>-88</c:v>
                </c:pt>
                <c:pt idx="1373">
                  <c:v>-87</c:v>
                </c:pt>
                <c:pt idx="1374">
                  <c:v>-86</c:v>
                </c:pt>
                <c:pt idx="1375">
                  <c:v>-85</c:v>
                </c:pt>
                <c:pt idx="1376">
                  <c:v>-84</c:v>
                </c:pt>
                <c:pt idx="1377">
                  <c:v>-83</c:v>
                </c:pt>
                <c:pt idx="1378">
                  <c:v>-82</c:v>
                </c:pt>
                <c:pt idx="1379">
                  <c:v>-81</c:v>
                </c:pt>
                <c:pt idx="1380">
                  <c:v>-80</c:v>
                </c:pt>
                <c:pt idx="1381">
                  <c:v>-79</c:v>
                </c:pt>
                <c:pt idx="1382">
                  <c:v>-78</c:v>
                </c:pt>
                <c:pt idx="1383">
                  <c:v>-77</c:v>
                </c:pt>
                <c:pt idx="1384">
                  <c:v>-76</c:v>
                </c:pt>
                <c:pt idx="1385">
                  <c:v>-75</c:v>
                </c:pt>
                <c:pt idx="1386">
                  <c:v>-74</c:v>
                </c:pt>
                <c:pt idx="1387">
                  <c:v>-73</c:v>
                </c:pt>
                <c:pt idx="1388">
                  <c:v>-72</c:v>
                </c:pt>
                <c:pt idx="1389">
                  <c:v>-71</c:v>
                </c:pt>
                <c:pt idx="1390">
                  <c:v>-70</c:v>
                </c:pt>
                <c:pt idx="1391">
                  <c:v>-69</c:v>
                </c:pt>
                <c:pt idx="1392">
                  <c:v>-68</c:v>
                </c:pt>
                <c:pt idx="1393">
                  <c:v>-67</c:v>
                </c:pt>
                <c:pt idx="1394">
                  <c:v>-66</c:v>
                </c:pt>
                <c:pt idx="1395">
                  <c:v>-65</c:v>
                </c:pt>
                <c:pt idx="1396">
                  <c:v>-64</c:v>
                </c:pt>
                <c:pt idx="1397">
                  <c:v>-63</c:v>
                </c:pt>
                <c:pt idx="1398">
                  <c:v>-62</c:v>
                </c:pt>
                <c:pt idx="1399">
                  <c:v>-61</c:v>
                </c:pt>
                <c:pt idx="1400">
                  <c:v>-60</c:v>
                </c:pt>
                <c:pt idx="1401">
                  <c:v>-59</c:v>
                </c:pt>
                <c:pt idx="1402">
                  <c:v>-58</c:v>
                </c:pt>
                <c:pt idx="1403">
                  <c:v>-57</c:v>
                </c:pt>
                <c:pt idx="1404">
                  <c:v>-56</c:v>
                </c:pt>
                <c:pt idx="1405">
                  <c:v>-55</c:v>
                </c:pt>
                <c:pt idx="1406">
                  <c:v>-54</c:v>
                </c:pt>
                <c:pt idx="1407">
                  <c:v>-53</c:v>
                </c:pt>
                <c:pt idx="1408">
                  <c:v>-52</c:v>
                </c:pt>
                <c:pt idx="1409">
                  <c:v>-51</c:v>
                </c:pt>
                <c:pt idx="1410">
                  <c:v>-50</c:v>
                </c:pt>
                <c:pt idx="1411">
                  <c:v>-49</c:v>
                </c:pt>
                <c:pt idx="1412">
                  <c:v>-48</c:v>
                </c:pt>
                <c:pt idx="1413">
                  <c:v>-47</c:v>
                </c:pt>
                <c:pt idx="1414">
                  <c:v>-46</c:v>
                </c:pt>
                <c:pt idx="1415">
                  <c:v>-45</c:v>
                </c:pt>
                <c:pt idx="1416">
                  <c:v>-44</c:v>
                </c:pt>
                <c:pt idx="1417">
                  <c:v>-43</c:v>
                </c:pt>
                <c:pt idx="1418">
                  <c:v>-42</c:v>
                </c:pt>
                <c:pt idx="1419">
                  <c:v>-41</c:v>
                </c:pt>
                <c:pt idx="1420">
                  <c:v>-40</c:v>
                </c:pt>
                <c:pt idx="1421">
                  <c:v>-39</c:v>
                </c:pt>
                <c:pt idx="1422">
                  <c:v>-38</c:v>
                </c:pt>
                <c:pt idx="1423">
                  <c:v>-37</c:v>
                </c:pt>
                <c:pt idx="1424">
                  <c:v>-36</c:v>
                </c:pt>
                <c:pt idx="1425">
                  <c:v>-35</c:v>
                </c:pt>
                <c:pt idx="1426">
                  <c:v>-34</c:v>
                </c:pt>
                <c:pt idx="1427">
                  <c:v>-33</c:v>
                </c:pt>
                <c:pt idx="1428">
                  <c:v>-32</c:v>
                </c:pt>
                <c:pt idx="1429">
                  <c:v>-31</c:v>
                </c:pt>
                <c:pt idx="1430">
                  <c:v>-30</c:v>
                </c:pt>
                <c:pt idx="1431">
                  <c:v>-29</c:v>
                </c:pt>
                <c:pt idx="1432">
                  <c:v>-28</c:v>
                </c:pt>
                <c:pt idx="1433">
                  <c:v>-27</c:v>
                </c:pt>
                <c:pt idx="1434">
                  <c:v>-26</c:v>
                </c:pt>
                <c:pt idx="1435">
                  <c:v>-25</c:v>
                </c:pt>
                <c:pt idx="1436">
                  <c:v>-24</c:v>
                </c:pt>
                <c:pt idx="1437">
                  <c:v>-23</c:v>
                </c:pt>
                <c:pt idx="1438">
                  <c:v>-22</c:v>
                </c:pt>
                <c:pt idx="1439">
                  <c:v>-21</c:v>
                </c:pt>
                <c:pt idx="1440">
                  <c:v>-20</c:v>
                </c:pt>
                <c:pt idx="1441">
                  <c:v>-19</c:v>
                </c:pt>
                <c:pt idx="1442">
                  <c:v>-18</c:v>
                </c:pt>
                <c:pt idx="1443">
                  <c:v>-17</c:v>
                </c:pt>
                <c:pt idx="1444">
                  <c:v>-16</c:v>
                </c:pt>
                <c:pt idx="1445">
                  <c:v>-15</c:v>
                </c:pt>
                <c:pt idx="1446">
                  <c:v>-14</c:v>
                </c:pt>
                <c:pt idx="1447">
                  <c:v>-13</c:v>
                </c:pt>
                <c:pt idx="1448">
                  <c:v>-12</c:v>
                </c:pt>
                <c:pt idx="1449">
                  <c:v>-11</c:v>
                </c:pt>
                <c:pt idx="1450">
                  <c:v>-10</c:v>
                </c:pt>
                <c:pt idx="1451">
                  <c:v>-9</c:v>
                </c:pt>
                <c:pt idx="1452">
                  <c:v>-8</c:v>
                </c:pt>
                <c:pt idx="1453">
                  <c:v>-7</c:v>
                </c:pt>
                <c:pt idx="1454">
                  <c:v>-6</c:v>
                </c:pt>
                <c:pt idx="1455">
                  <c:v>-5</c:v>
                </c:pt>
                <c:pt idx="1456">
                  <c:v>-4</c:v>
                </c:pt>
                <c:pt idx="1457">
                  <c:v>-3</c:v>
                </c:pt>
                <c:pt idx="1458">
                  <c:v>-2</c:v>
                </c:pt>
                <c:pt idx="1459">
                  <c:v>-1</c:v>
                </c:pt>
                <c:pt idx="1460">
                  <c:v>0</c:v>
                </c:pt>
                <c:pt idx="1461">
                  <c:v>1</c:v>
                </c:pt>
                <c:pt idx="1462">
                  <c:v>2</c:v>
                </c:pt>
                <c:pt idx="1463">
                  <c:v>3</c:v>
                </c:pt>
                <c:pt idx="1464">
                  <c:v>4</c:v>
                </c:pt>
                <c:pt idx="1465">
                  <c:v>5</c:v>
                </c:pt>
                <c:pt idx="1466">
                  <c:v>6</c:v>
                </c:pt>
                <c:pt idx="1467">
                  <c:v>7</c:v>
                </c:pt>
                <c:pt idx="1468">
                  <c:v>8</c:v>
                </c:pt>
                <c:pt idx="1469">
                  <c:v>9</c:v>
                </c:pt>
                <c:pt idx="1470">
                  <c:v>10</c:v>
                </c:pt>
                <c:pt idx="1471">
                  <c:v>11</c:v>
                </c:pt>
                <c:pt idx="1472">
                  <c:v>12</c:v>
                </c:pt>
                <c:pt idx="1473">
                  <c:v>13</c:v>
                </c:pt>
                <c:pt idx="1474">
                  <c:v>14</c:v>
                </c:pt>
                <c:pt idx="1475">
                  <c:v>15</c:v>
                </c:pt>
                <c:pt idx="1476">
                  <c:v>16</c:v>
                </c:pt>
                <c:pt idx="1477">
                  <c:v>17</c:v>
                </c:pt>
                <c:pt idx="1478">
                  <c:v>18</c:v>
                </c:pt>
                <c:pt idx="1479">
                  <c:v>19</c:v>
                </c:pt>
                <c:pt idx="1480">
                  <c:v>20</c:v>
                </c:pt>
                <c:pt idx="1481">
                  <c:v>21</c:v>
                </c:pt>
                <c:pt idx="1482">
                  <c:v>22</c:v>
                </c:pt>
                <c:pt idx="1483">
                  <c:v>23</c:v>
                </c:pt>
                <c:pt idx="1484">
                  <c:v>24</c:v>
                </c:pt>
                <c:pt idx="1485">
                  <c:v>25</c:v>
                </c:pt>
                <c:pt idx="1486">
                  <c:v>26</c:v>
                </c:pt>
                <c:pt idx="1487">
                  <c:v>27</c:v>
                </c:pt>
                <c:pt idx="1488">
                  <c:v>28</c:v>
                </c:pt>
                <c:pt idx="1489">
                  <c:v>29</c:v>
                </c:pt>
                <c:pt idx="1490">
                  <c:v>30</c:v>
                </c:pt>
                <c:pt idx="1491">
                  <c:v>31</c:v>
                </c:pt>
                <c:pt idx="1492">
                  <c:v>32</c:v>
                </c:pt>
                <c:pt idx="1493">
                  <c:v>33</c:v>
                </c:pt>
                <c:pt idx="1494">
                  <c:v>34</c:v>
                </c:pt>
                <c:pt idx="1495">
                  <c:v>35</c:v>
                </c:pt>
                <c:pt idx="1496">
                  <c:v>36</c:v>
                </c:pt>
                <c:pt idx="1497">
                  <c:v>37</c:v>
                </c:pt>
                <c:pt idx="1498">
                  <c:v>38</c:v>
                </c:pt>
                <c:pt idx="1499">
                  <c:v>39</c:v>
                </c:pt>
                <c:pt idx="1500">
                  <c:v>40</c:v>
                </c:pt>
                <c:pt idx="1501">
                  <c:v>41</c:v>
                </c:pt>
                <c:pt idx="1502">
                  <c:v>42</c:v>
                </c:pt>
                <c:pt idx="1503">
                  <c:v>43</c:v>
                </c:pt>
                <c:pt idx="1504">
                  <c:v>44</c:v>
                </c:pt>
                <c:pt idx="1505">
                  <c:v>45</c:v>
                </c:pt>
                <c:pt idx="1506">
                  <c:v>46</c:v>
                </c:pt>
                <c:pt idx="1507">
                  <c:v>47</c:v>
                </c:pt>
                <c:pt idx="1508">
                  <c:v>48</c:v>
                </c:pt>
                <c:pt idx="1509">
                  <c:v>49</c:v>
                </c:pt>
                <c:pt idx="1510">
                  <c:v>50</c:v>
                </c:pt>
                <c:pt idx="1511">
                  <c:v>51</c:v>
                </c:pt>
                <c:pt idx="1512">
                  <c:v>52</c:v>
                </c:pt>
                <c:pt idx="1513">
                  <c:v>53</c:v>
                </c:pt>
                <c:pt idx="1514">
                  <c:v>54</c:v>
                </c:pt>
                <c:pt idx="1515">
                  <c:v>55</c:v>
                </c:pt>
                <c:pt idx="1516">
                  <c:v>56</c:v>
                </c:pt>
                <c:pt idx="1517">
                  <c:v>57</c:v>
                </c:pt>
                <c:pt idx="1518">
                  <c:v>58</c:v>
                </c:pt>
                <c:pt idx="1519">
                  <c:v>59</c:v>
                </c:pt>
                <c:pt idx="1520">
                  <c:v>60</c:v>
                </c:pt>
                <c:pt idx="1521">
                  <c:v>61</c:v>
                </c:pt>
                <c:pt idx="1522">
                  <c:v>62</c:v>
                </c:pt>
                <c:pt idx="1523">
                  <c:v>63</c:v>
                </c:pt>
                <c:pt idx="1524">
                  <c:v>64</c:v>
                </c:pt>
                <c:pt idx="1525">
                  <c:v>65</c:v>
                </c:pt>
                <c:pt idx="1526">
                  <c:v>66</c:v>
                </c:pt>
                <c:pt idx="1527">
                  <c:v>67</c:v>
                </c:pt>
                <c:pt idx="1528">
                  <c:v>68</c:v>
                </c:pt>
                <c:pt idx="1529">
                  <c:v>69</c:v>
                </c:pt>
                <c:pt idx="1530">
                  <c:v>70</c:v>
                </c:pt>
                <c:pt idx="1531">
                  <c:v>71</c:v>
                </c:pt>
                <c:pt idx="1532">
                  <c:v>72</c:v>
                </c:pt>
                <c:pt idx="1533">
                  <c:v>73</c:v>
                </c:pt>
                <c:pt idx="1534">
                  <c:v>74</c:v>
                </c:pt>
                <c:pt idx="1535">
                  <c:v>75</c:v>
                </c:pt>
                <c:pt idx="1536">
                  <c:v>76</c:v>
                </c:pt>
                <c:pt idx="1537">
                  <c:v>77</c:v>
                </c:pt>
                <c:pt idx="1538">
                  <c:v>78</c:v>
                </c:pt>
                <c:pt idx="1539">
                  <c:v>79</c:v>
                </c:pt>
                <c:pt idx="1540">
                  <c:v>80</c:v>
                </c:pt>
                <c:pt idx="1541">
                  <c:v>81</c:v>
                </c:pt>
                <c:pt idx="1542">
                  <c:v>82</c:v>
                </c:pt>
                <c:pt idx="1543">
                  <c:v>83</c:v>
                </c:pt>
                <c:pt idx="1544">
                  <c:v>84</c:v>
                </c:pt>
                <c:pt idx="1545">
                  <c:v>85</c:v>
                </c:pt>
                <c:pt idx="1546">
                  <c:v>86</c:v>
                </c:pt>
                <c:pt idx="1547">
                  <c:v>87</c:v>
                </c:pt>
                <c:pt idx="1548">
                  <c:v>88</c:v>
                </c:pt>
                <c:pt idx="1549">
                  <c:v>89</c:v>
                </c:pt>
                <c:pt idx="1550">
                  <c:v>90</c:v>
                </c:pt>
                <c:pt idx="1551">
                  <c:v>91</c:v>
                </c:pt>
                <c:pt idx="1552">
                  <c:v>92</c:v>
                </c:pt>
                <c:pt idx="1553">
                  <c:v>93</c:v>
                </c:pt>
                <c:pt idx="1554">
                  <c:v>94</c:v>
                </c:pt>
                <c:pt idx="1555">
                  <c:v>95</c:v>
                </c:pt>
                <c:pt idx="1556">
                  <c:v>96</c:v>
                </c:pt>
                <c:pt idx="1557">
                  <c:v>97</c:v>
                </c:pt>
                <c:pt idx="1558">
                  <c:v>98</c:v>
                </c:pt>
                <c:pt idx="1559">
                  <c:v>99</c:v>
                </c:pt>
                <c:pt idx="1560">
                  <c:v>100</c:v>
                </c:pt>
                <c:pt idx="1561">
                  <c:v>101</c:v>
                </c:pt>
                <c:pt idx="1562">
                  <c:v>102</c:v>
                </c:pt>
                <c:pt idx="1563">
                  <c:v>103</c:v>
                </c:pt>
                <c:pt idx="1564">
                  <c:v>104</c:v>
                </c:pt>
                <c:pt idx="1565">
                  <c:v>105</c:v>
                </c:pt>
                <c:pt idx="1566">
                  <c:v>106</c:v>
                </c:pt>
                <c:pt idx="1567">
                  <c:v>107</c:v>
                </c:pt>
                <c:pt idx="1568">
                  <c:v>108</c:v>
                </c:pt>
                <c:pt idx="1569">
                  <c:v>109</c:v>
                </c:pt>
                <c:pt idx="1570">
                  <c:v>110</c:v>
                </c:pt>
                <c:pt idx="1571">
                  <c:v>111</c:v>
                </c:pt>
                <c:pt idx="1572">
                  <c:v>112</c:v>
                </c:pt>
                <c:pt idx="1573">
                  <c:v>113</c:v>
                </c:pt>
                <c:pt idx="1574">
                  <c:v>114</c:v>
                </c:pt>
                <c:pt idx="1575">
                  <c:v>115</c:v>
                </c:pt>
                <c:pt idx="1576">
                  <c:v>116</c:v>
                </c:pt>
                <c:pt idx="1577">
                  <c:v>117</c:v>
                </c:pt>
                <c:pt idx="1578">
                  <c:v>118</c:v>
                </c:pt>
                <c:pt idx="1579">
                  <c:v>119</c:v>
                </c:pt>
                <c:pt idx="1580">
                  <c:v>120</c:v>
                </c:pt>
                <c:pt idx="1581">
                  <c:v>121</c:v>
                </c:pt>
                <c:pt idx="1582">
                  <c:v>122</c:v>
                </c:pt>
                <c:pt idx="1583">
                  <c:v>123</c:v>
                </c:pt>
                <c:pt idx="1584">
                  <c:v>124</c:v>
                </c:pt>
                <c:pt idx="1585">
                  <c:v>125</c:v>
                </c:pt>
                <c:pt idx="1586">
                  <c:v>126</c:v>
                </c:pt>
                <c:pt idx="1587">
                  <c:v>127</c:v>
                </c:pt>
                <c:pt idx="1588">
                  <c:v>128</c:v>
                </c:pt>
                <c:pt idx="1589">
                  <c:v>129</c:v>
                </c:pt>
                <c:pt idx="1590">
                  <c:v>130</c:v>
                </c:pt>
                <c:pt idx="1591">
                  <c:v>131</c:v>
                </c:pt>
                <c:pt idx="1592">
                  <c:v>132</c:v>
                </c:pt>
                <c:pt idx="1593">
                  <c:v>133</c:v>
                </c:pt>
                <c:pt idx="1594">
                  <c:v>134</c:v>
                </c:pt>
                <c:pt idx="1595">
                  <c:v>135</c:v>
                </c:pt>
                <c:pt idx="1596">
                  <c:v>136</c:v>
                </c:pt>
                <c:pt idx="1597">
                  <c:v>137</c:v>
                </c:pt>
                <c:pt idx="1598">
                  <c:v>138</c:v>
                </c:pt>
                <c:pt idx="1599">
                  <c:v>139</c:v>
                </c:pt>
                <c:pt idx="1600">
                  <c:v>140</c:v>
                </c:pt>
                <c:pt idx="1601">
                  <c:v>141</c:v>
                </c:pt>
                <c:pt idx="1602">
                  <c:v>142</c:v>
                </c:pt>
                <c:pt idx="1603">
                  <c:v>143</c:v>
                </c:pt>
                <c:pt idx="1604">
                  <c:v>144</c:v>
                </c:pt>
                <c:pt idx="1605">
                  <c:v>145</c:v>
                </c:pt>
                <c:pt idx="1606">
                  <c:v>146</c:v>
                </c:pt>
                <c:pt idx="1607">
                  <c:v>147</c:v>
                </c:pt>
                <c:pt idx="1608">
                  <c:v>148</c:v>
                </c:pt>
                <c:pt idx="1609">
                  <c:v>149</c:v>
                </c:pt>
                <c:pt idx="1610">
                  <c:v>150</c:v>
                </c:pt>
                <c:pt idx="1611">
                  <c:v>151</c:v>
                </c:pt>
                <c:pt idx="1612">
                  <c:v>152</c:v>
                </c:pt>
                <c:pt idx="1613">
                  <c:v>153</c:v>
                </c:pt>
                <c:pt idx="1614">
                  <c:v>154</c:v>
                </c:pt>
                <c:pt idx="1615">
                  <c:v>155</c:v>
                </c:pt>
                <c:pt idx="1616">
                  <c:v>156</c:v>
                </c:pt>
                <c:pt idx="1617">
                  <c:v>157</c:v>
                </c:pt>
                <c:pt idx="1618">
                  <c:v>158</c:v>
                </c:pt>
                <c:pt idx="1619">
                  <c:v>159</c:v>
                </c:pt>
                <c:pt idx="1620">
                  <c:v>160</c:v>
                </c:pt>
                <c:pt idx="1621">
                  <c:v>161</c:v>
                </c:pt>
                <c:pt idx="1622">
                  <c:v>162</c:v>
                </c:pt>
                <c:pt idx="1623">
                  <c:v>163</c:v>
                </c:pt>
                <c:pt idx="1624">
                  <c:v>164</c:v>
                </c:pt>
                <c:pt idx="1625">
                  <c:v>165</c:v>
                </c:pt>
                <c:pt idx="1626">
                  <c:v>166</c:v>
                </c:pt>
                <c:pt idx="1627">
                  <c:v>167</c:v>
                </c:pt>
                <c:pt idx="1628">
                  <c:v>168</c:v>
                </c:pt>
                <c:pt idx="1629">
                  <c:v>169</c:v>
                </c:pt>
                <c:pt idx="1630">
                  <c:v>170</c:v>
                </c:pt>
                <c:pt idx="1631">
                  <c:v>171</c:v>
                </c:pt>
                <c:pt idx="1632">
                  <c:v>172</c:v>
                </c:pt>
                <c:pt idx="1633">
                  <c:v>173</c:v>
                </c:pt>
                <c:pt idx="1634">
                  <c:v>174</c:v>
                </c:pt>
                <c:pt idx="1635">
                  <c:v>175</c:v>
                </c:pt>
                <c:pt idx="1636">
                  <c:v>176</c:v>
                </c:pt>
                <c:pt idx="1637">
                  <c:v>177</c:v>
                </c:pt>
                <c:pt idx="1638">
                  <c:v>178</c:v>
                </c:pt>
                <c:pt idx="1639">
                  <c:v>179</c:v>
                </c:pt>
                <c:pt idx="1640">
                  <c:v>180</c:v>
                </c:pt>
                <c:pt idx="1641">
                  <c:v>181</c:v>
                </c:pt>
                <c:pt idx="1642">
                  <c:v>182</c:v>
                </c:pt>
                <c:pt idx="1643">
                  <c:v>183</c:v>
                </c:pt>
                <c:pt idx="1644">
                  <c:v>184</c:v>
                </c:pt>
                <c:pt idx="1645">
                  <c:v>185</c:v>
                </c:pt>
                <c:pt idx="1646">
                  <c:v>186</c:v>
                </c:pt>
                <c:pt idx="1647">
                  <c:v>187</c:v>
                </c:pt>
                <c:pt idx="1648">
                  <c:v>188</c:v>
                </c:pt>
                <c:pt idx="1649">
                  <c:v>189</c:v>
                </c:pt>
                <c:pt idx="1650">
                  <c:v>190</c:v>
                </c:pt>
                <c:pt idx="1651">
                  <c:v>191</c:v>
                </c:pt>
                <c:pt idx="1652">
                  <c:v>192</c:v>
                </c:pt>
                <c:pt idx="1653">
                  <c:v>193</c:v>
                </c:pt>
                <c:pt idx="1654">
                  <c:v>194</c:v>
                </c:pt>
                <c:pt idx="1655">
                  <c:v>195</c:v>
                </c:pt>
                <c:pt idx="1656">
                  <c:v>196</c:v>
                </c:pt>
                <c:pt idx="1657">
                  <c:v>197</c:v>
                </c:pt>
                <c:pt idx="1658">
                  <c:v>198</c:v>
                </c:pt>
                <c:pt idx="1659">
                  <c:v>199</c:v>
                </c:pt>
                <c:pt idx="1660">
                  <c:v>200</c:v>
                </c:pt>
                <c:pt idx="1661">
                  <c:v>201</c:v>
                </c:pt>
                <c:pt idx="1662">
                  <c:v>202</c:v>
                </c:pt>
                <c:pt idx="1663">
                  <c:v>203</c:v>
                </c:pt>
                <c:pt idx="1664">
                  <c:v>204</c:v>
                </c:pt>
                <c:pt idx="1665">
                  <c:v>205</c:v>
                </c:pt>
                <c:pt idx="1666">
                  <c:v>206</c:v>
                </c:pt>
                <c:pt idx="1667">
                  <c:v>207</c:v>
                </c:pt>
                <c:pt idx="1668">
                  <c:v>208</c:v>
                </c:pt>
                <c:pt idx="1669">
                  <c:v>209</c:v>
                </c:pt>
                <c:pt idx="1670">
                  <c:v>210</c:v>
                </c:pt>
                <c:pt idx="1671">
                  <c:v>211</c:v>
                </c:pt>
                <c:pt idx="1672">
                  <c:v>212</c:v>
                </c:pt>
                <c:pt idx="1673">
                  <c:v>213</c:v>
                </c:pt>
                <c:pt idx="1674">
                  <c:v>214</c:v>
                </c:pt>
                <c:pt idx="1675">
                  <c:v>215</c:v>
                </c:pt>
                <c:pt idx="1676">
                  <c:v>216</c:v>
                </c:pt>
                <c:pt idx="1677">
                  <c:v>217</c:v>
                </c:pt>
                <c:pt idx="1678">
                  <c:v>218</c:v>
                </c:pt>
                <c:pt idx="1679">
                  <c:v>219</c:v>
                </c:pt>
                <c:pt idx="1680">
                  <c:v>220</c:v>
                </c:pt>
                <c:pt idx="1681">
                  <c:v>221</c:v>
                </c:pt>
                <c:pt idx="1682">
                  <c:v>222</c:v>
                </c:pt>
                <c:pt idx="1683">
                  <c:v>223</c:v>
                </c:pt>
                <c:pt idx="1684">
                  <c:v>224</c:v>
                </c:pt>
                <c:pt idx="1685">
                  <c:v>225</c:v>
                </c:pt>
                <c:pt idx="1686">
                  <c:v>226</c:v>
                </c:pt>
                <c:pt idx="1687">
                  <c:v>227</c:v>
                </c:pt>
                <c:pt idx="1688">
                  <c:v>228</c:v>
                </c:pt>
                <c:pt idx="1689">
                  <c:v>229</c:v>
                </c:pt>
                <c:pt idx="1690">
                  <c:v>230</c:v>
                </c:pt>
                <c:pt idx="1691">
                  <c:v>231</c:v>
                </c:pt>
                <c:pt idx="1692">
                  <c:v>232</c:v>
                </c:pt>
                <c:pt idx="1693">
                  <c:v>233</c:v>
                </c:pt>
                <c:pt idx="1694">
                  <c:v>234</c:v>
                </c:pt>
                <c:pt idx="1695">
                  <c:v>235</c:v>
                </c:pt>
                <c:pt idx="1696">
                  <c:v>236</c:v>
                </c:pt>
                <c:pt idx="1697">
                  <c:v>237</c:v>
                </c:pt>
                <c:pt idx="1698">
                  <c:v>238</c:v>
                </c:pt>
                <c:pt idx="1699">
                  <c:v>239</c:v>
                </c:pt>
                <c:pt idx="1700">
                  <c:v>240</c:v>
                </c:pt>
                <c:pt idx="1701">
                  <c:v>241</c:v>
                </c:pt>
                <c:pt idx="1702">
                  <c:v>242</c:v>
                </c:pt>
                <c:pt idx="1703">
                  <c:v>243</c:v>
                </c:pt>
                <c:pt idx="1704">
                  <c:v>244</c:v>
                </c:pt>
                <c:pt idx="1705">
                  <c:v>245</c:v>
                </c:pt>
                <c:pt idx="1706">
                  <c:v>246</c:v>
                </c:pt>
                <c:pt idx="1707">
                  <c:v>247</c:v>
                </c:pt>
                <c:pt idx="1708">
                  <c:v>248</c:v>
                </c:pt>
                <c:pt idx="1709">
                  <c:v>249</c:v>
                </c:pt>
                <c:pt idx="1710">
                  <c:v>250</c:v>
                </c:pt>
                <c:pt idx="1711">
                  <c:v>251</c:v>
                </c:pt>
                <c:pt idx="1712">
                  <c:v>252</c:v>
                </c:pt>
                <c:pt idx="1713">
                  <c:v>253</c:v>
                </c:pt>
                <c:pt idx="1714">
                  <c:v>254</c:v>
                </c:pt>
                <c:pt idx="1715">
                  <c:v>255</c:v>
                </c:pt>
                <c:pt idx="1716">
                  <c:v>256</c:v>
                </c:pt>
                <c:pt idx="1717">
                  <c:v>257</c:v>
                </c:pt>
                <c:pt idx="1718">
                  <c:v>258</c:v>
                </c:pt>
                <c:pt idx="1719">
                  <c:v>259</c:v>
                </c:pt>
                <c:pt idx="1720">
                  <c:v>260</c:v>
                </c:pt>
                <c:pt idx="1721">
                  <c:v>261</c:v>
                </c:pt>
                <c:pt idx="1722">
                  <c:v>262</c:v>
                </c:pt>
                <c:pt idx="1723">
                  <c:v>263</c:v>
                </c:pt>
                <c:pt idx="1724">
                  <c:v>264</c:v>
                </c:pt>
                <c:pt idx="1725">
                  <c:v>265</c:v>
                </c:pt>
                <c:pt idx="1726">
                  <c:v>266</c:v>
                </c:pt>
                <c:pt idx="1727">
                  <c:v>267</c:v>
                </c:pt>
                <c:pt idx="1728">
                  <c:v>268</c:v>
                </c:pt>
                <c:pt idx="1729">
                  <c:v>269</c:v>
                </c:pt>
                <c:pt idx="1730">
                  <c:v>270</c:v>
                </c:pt>
                <c:pt idx="1731">
                  <c:v>271</c:v>
                </c:pt>
                <c:pt idx="1732">
                  <c:v>272</c:v>
                </c:pt>
                <c:pt idx="1733">
                  <c:v>273</c:v>
                </c:pt>
                <c:pt idx="1734">
                  <c:v>274</c:v>
                </c:pt>
                <c:pt idx="1735">
                  <c:v>275</c:v>
                </c:pt>
                <c:pt idx="1736">
                  <c:v>276</c:v>
                </c:pt>
                <c:pt idx="1737">
                  <c:v>277</c:v>
                </c:pt>
                <c:pt idx="1738">
                  <c:v>278</c:v>
                </c:pt>
                <c:pt idx="1739">
                  <c:v>279</c:v>
                </c:pt>
                <c:pt idx="1740">
                  <c:v>280</c:v>
                </c:pt>
                <c:pt idx="1741">
                  <c:v>281</c:v>
                </c:pt>
                <c:pt idx="1742">
                  <c:v>282</c:v>
                </c:pt>
                <c:pt idx="1743">
                  <c:v>283</c:v>
                </c:pt>
                <c:pt idx="1744">
                  <c:v>284</c:v>
                </c:pt>
                <c:pt idx="1745">
                  <c:v>285</c:v>
                </c:pt>
                <c:pt idx="1746">
                  <c:v>286</c:v>
                </c:pt>
                <c:pt idx="1747">
                  <c:v>287</c:v>
                </c:pt>
                <c:pt idx="1748">
                  <c:v>288</c:v>
                </c:pt>
                <c:pt idx="1749">
                  <c:v>289</c:v>
                </c:pt>
                <c:pt idx="1750">
                  <c:v>290</c:v>
                </c:pt>
                <c:pt idx="1751">
                  <c:v>291</c:v>
                </c:pt>
                <c:pt idx="1752">
                  <c:v>292</c:v>
                </c:pt>
                <c:pt idx="1753">
                  <c:v>293</c:v>
                </c:pt>
                <c:pt idx="1754">
                  <c:v>294</c:v>
                </c:pt>
                <c:pt idx="1755">
                  <c:v>295</c:v>
                </c:pt>
                <c:pt idx="1756">
                  <c:v>296</c:v>
                </c:pt>
                <c:pt idx="1757">
                  <c:v>297</c:v>
                </c:pt>
                <c:pt idx="1758">
                  <c:v>298</c:v>
                </c:pt>
                <c:pt idx="1759">
                  <c:v>299</c:v>
                </c:pt>
                <c:pt idx="1760">
                  <c:v>300</c:v>
                </c:pt>
                <c:pt idx="1761">
                  <c:v>301</c:v>
                </c:pt>
                <c:pt idx="1762">
                  <c:v>302</c:v>
                </c:pt>
                <c:pt idx="1763">
                  <c:v>303</c:v>
                </c:pt>
                <c:pt idx="1764">
                  <c:v>304</c:v>
                </c:pt>
                <c:pt idx="1765">
                  <c:v>305</c:v>
                </c:pt>
                <c:pt idx="1766">
                  <c:v>306</c:v>
                </c:pt>
                <c:pt idx="1767">
                  <c:v>307</c:v>
                </c:pt>
                <c:pt idx="1768">
                  <c:v>308</c:v>
                </c:pt>
                <c:pt idx="1769">
                  <c:v>309</c:v>
                </c:pt>
                <c:pt idx="1770">
                  <c:v>310</c:v>
                </c:pt>
                <c:pt idx="1771">
                  <c:v>311</c:v>
                </c:pt>
                <c:pt idx="1772">
                  <c:v>312</c:v>
                </c:pt>
                <c:pt idx="1773">
                  <c:v>313</c:v>
                </c:pt>
                <c:pt idx="1774">
                  <c:v>314</c:v>
                </c:pt>
                <c:pt idx="1775">
                  <c:v>315</c:v>
                </c:pt>
                <c:pt idx="1776">
                  <c:v>316</c:v>
                </c:pt>
                <c:pt idx="1777">
                  <c:v>317</c:v>
                </c:pt>
                <c:pt idx="1778">
                  <c:v>318</c:v>
                </c:pt>
                <c:pt idx="1779">
                  <c:v>319</c:v>
                </c:pt>
                <c:pt idx="1780">
                  <c:v>320</c:v>
                </c:pt>
                <c:pt idx="1781">
                  <c:v>321</c:v>
                </c:pt>
                <c:pt idx="1782">
                  <c:v>322</c:v>
                </c:pt>
                <c:pt idx="1783">
                  <c:v>323</c:v>
                </c:pt>
                <c:pt idx="1784">
                  <c:v>324</c:v>
                </c:pt>
                <c:pt idx="1785">
                  <c:v>325</c:v>
                </c:pt>
                <c:pt idx="1786">
                  <c:v>326</c:v>
                </c:pt>
                <c:pt idx="1787">
                  <c:v>327</c:v>
                </c:pt>
                <c:pt idx="1788">
                  <c:v>328</c:v>
                </c:pt>
                <c:pt idx="1789">
                  <c:v>329</c:v>
                </c:pt>
                <c:pt idx="1790">
                  <c:v>330</c:v>
                </c:pt>
                <c:pt idx="1791">
                  <c:v>331</c:v>
                </c:pt>
                <c:pt idx="1792">
                  <c:v>332</c:v>
                </c:pt>
                <c:pt idx="1793">
                  <c:v>333</c:v>
                </c:pt>
                <c:pt idx="1794">
                  <c:v>334</c:v>
                </c:pt>
                <c:pt idx="1795">
                  <c:v>335</c:v>
                </c:pt>
                <c:pt idx="1796">
                  <c:v>336</c:v>
                </c:pt>
                <c:pt idx="1797">
                  <c:v>337</c:v>
                </c:pt>
                <c:pt idx="1798">
                  <c:v>338</c:v>
                </c:pt>
                <c:pt idx="1799">
                  <c:v>339</c:v>
                </c:pt>
                <c:pt idx="1800">
                  <c:v>340</c:v>
                </c:pt>
                <c:pt idx="1801">
                  <c:v>341</c:v>
                </c:pt>
                <c:pt idx="1802">
                  <c:v>342</c:v>
                </c:pt>
                <c:pt idx="1803">
                  <c:v>343</c:v>
                </c:pt>
                <c:pt idx="1804">
                  <c:v>344</c:v>
                </c:pt>
                <c:pt idx="1805">
                  <c:v>345</c:v>
                </c:pt>
                <c:pt idx="1806">
                  <c:v>346</c:v>
                </c:pt>
                <c:pt idx="1807">
                  <c:v>347</c:v>
                </c:pt>
                <c:pt idx="1808">
                  <c:v>348</c:v>
                </c:pt>
                <c:pt idx="1809">
                  <c:v>349</c:v>
                </c:pt>
                <c:pt idx="1810">
                  <c:v>350</c:v>
                </c:pt>
                <c:pt idx="1811">
                  <c:v>351</c:v>
                </c:pt>
                <c:pt idx="1812">
                  <c:v>352</c:v>
                </c:pt>
                <c:pt idx="1813">
                  <c:v>353</c:v>
                </c:pt>
                <c:pt idx="1814">
                  <c:v>354</c:v>
                </c:pt>
                <c:pt idx="1815">
                  <c:v>355</c:v>
                </c:pt>
                <c:pt idx="1816">
                  <c:v>356</c:v>
                </c:pt>
                <c:pt idx="1817">
                  <c:v>357</c:v>
                </c:pt>
                <c:pt idx="1818">
                  <c:v>358</c:v>
                </c:pt>
                <c:pt idx="1819">
                  <c:v>359</c:v>
                </c:pt>
                <c:pt idx="1820">
                  <c:v>360</c:v>
                </c:pt>
                <c:pt idx="1821">
                  <c:v>361</c:v>
                </c:pt>
                <c:pt idx="1822">
                  <c:v>362</c:v>
                </c:pt>
                <c:pt idx="1823">
                  <c:v>363</c:v>
                </c:pt>
                <c:pt idx="1824">
                  <c:v>364</c:v>
                </c:pt>
                <c:pt idx="1825">
                  <c:v>365</c:v>
                </c:pt>
                <c:pt idx="1826">
                  <c:v>366</c:v>
                </c:pt>
                <c:pt idx="1827">
                  <c:v>367</c:v>
                </c:pt>
                <c:pt idx="1828">
                  <c:v>368</c:v>
                </c:pt>
                <c:pt idx="1829">
                  <c:v>369</c:v>
                </c:pt>
                <c:pt idx="1830">
                  <c:v>370</c:v>
                </c:pt>
                <c:pt idx="1831">
                  <c:v>371</c:v>
                </c:pt>
                <c:pt idx="1832">
                  <c:v>372</c:v>
                </c:pt>
                <c:pt idx="1833">
                  <c:v>373</c:v>
                </c:pt>
                <c:pt idx="1834">
                  <c:v>374</c:v>
                </c:pt>
                <c:pt idx="1835">
                  <c:v>375</c:v>
                </c:pt>
                <c:pt idx="1836">
                  <c:v>376</c:v>
                </c:pt>
                <c:pt idx="1837">
                  <c:v>377</c:v>
                </c:pt>
                <c:pt idx="1838">
                  <c:v>378</c:v>
                </c:pt>
                <c:pt idx="1839">
                  <c:v>379</c:v>
                </c:pt>
                <c:pt idx="1840">
                  <c:v>380</c:v>
                </c:pt>
                <c:pt idx="1841">
                  <c:v>381</c:v>
                </c:pt>
                <c:pt idx="1842">
                  <c:v>382</c:v>
                </c:pt>
                <c:pt idx="1843">
                  <c:v>383</c:v>
                </c:pt>
                <c:pt idx="1844">
                  <c:v>384</c:v>
                </c:pt>
                <c:pt idx="1845">
                  <c:v>385</c:v>
                </c:pt>
                <c:pt idx="1846">
                  <c:v>386</c:v>
                </c:pt>
                <c:pt idx="1847">
                  <c:v>387</c:v>
                </c:pt>
                <c:pt idx="1848">
                  <c:v>388</c:v>
                </c:pt>
                <c:pt idx="1849">
                  <c:v>389</c:v>
                </c:pt>
                <c:pt idx="1850">
                  <c:v>390</c:v>
                </c:pt>
                <c:pt idx="1851">
                  <c:v>391</c:v>
                </c:pt>
                <c:pt idx="1852">
                  <c:v>392</c:v>
                </c:pt>
                <c:pt idx="1853">
                  <c:v>393</c:v>
                </c:pt>
                <c:pt idx="1854">
                  <c:v>394</c:v>
                </c:pt>
                <c:pt idx="1855">
                  <c:v>395</c:v>
                </c:pt>
                <c:pt idx="1856">
                  <c:v>396</c:v>
                </c:pt>
                <c:pt idx="1857">
                  <c:v>397</c:v>
                </c:pt>
                <c:pt idx="1858">
                  <c:v>398</c:v>
                </c:pt>
                <c:pt idx="1859">
                  <c:v>399</c:v>
                </c:pt>
                <c:pt idx="1860">
                  <c:v>400</c:v>
                </c:pt>
                <c:pt idx="1861">
                  <c:v>401</c:v>
                </c:pt>
                <c:pt idx="1862">
                  <c:v>402</c:v>
                </c:pt>
                <c:pt idx="1863">
                  <c:v>403</c:v>
                </c:pt>
                <c:pt idx="1864">
                  <c:v>404</c:v>
                </c:pt>
                <c:pt idx="1865">
                  <c:v>405</c:v>
                </c:pt>
                <c:pt idx="1866">
                  <c:v>406</c:v>
                </c:pt>
                <c:pt idx="1867">
                  <c:v>407</c:v>
                </c:pt>
                <c:pt idx="1868">
                  <c:v>408</c:v>
                </c:pt>
                <c:pt idx="1869">
                  <c:v>409</c:v>
                </c:pt>
                <c:pt idx="1870">
                  <c:v>410</c:v>
                </c:pt>
                <c:pt idx="1871">
                  <c:v>411</c:v>
                </c:pt>
                <c:pt idx="1872">
                  <c:v>412</c:v>
                </c:pt>
                <c:pt idx="1873">
                  <c:v>413</c:v>
                </c:pt>
                <c:pt idx="1874">
                  <c:v>414</c:v>
                </c:pt>
                <c:pt idx="1875">
                  <c:v>415</c:v>
                </c:pt>
                <c:pt idx="1876">
                  <c:v>416</c:v>
                </c:pt>
                <c:pt idx="1877">
                  <c:v>417</c:v>
                </c:pt>
                <c:pt idx="1878">
                  <c:v>418</c:v>
                </c:pt>
                <c:pt idx="1879">
                  <c:v>419</c:v>
                </c:pt>
                <c:pt idx="1880">
                  <c:v>420</c:v>
                </c:pt>
                <c:pt idx="1881">
                  <c:v>421</c:v>
                </c:pt>
                <c:pt idx="1882">
                  <c:v>422</c:v>
                </c:pt>
                <c:pt idx="1883">
                  <c:v>423</c:v>
                </c:pt>
                <c:pt idx="1884">
                  <c:v>424</c:v>
                </c:pt>
                <c:pt idx="1885">
                  <c:v>425</c:v>
                </c:pt>
                <c:pt idx="1886">
                  <c:v>426</c:v>
                </c:pt>
                <c:pt idx="1887">
                  <c:v>427</c:v>
                </c:pt>
                <c:pt idx="1888">
                  <c:v>428</c:v>
                </c:pt>
                <c:pt idx="1889">
                  <c:v>429</c:v>
                </c:pt>
                <c:pt idx="1890">
                  <c:v>430</c:v>
                </c:pt>
                <c:pt idx="1891">
                  <c:v>431</c:v>
                </c:pt>
                <c:pt idx="1892">
                  <c:v>432</c:v>
                </c:pt>
                <c:pt idx="1893">
                  <c:v>433</c:v>
                </c:pt>
                <c:pt idx="1894">
                  <c:v>434</c:v>
                </c:pt>
                <c:pt idx="1895">
                  <c:v>435</c:v>
                </c:pt>
                <c:pt idx="1896">
                  <c:v>436</c:v>
                </c:pt>
                <c:pt idx="1897">
                  <c:v>437</c:v>
                </c:pt>
                <c:pt idx="1898">
                  <c:v>438</c:v>
                </c:pt>
                <c:pt idx="1899">
                  <c:v>439</c:v>
                </c:pt>
                <c:pt idx="1900">
                  <c:v>440</c:v>
                </c:pt>
                <c:pt idx="1901">
                  <c:v>441</c:v>
                </c:pt>
                <c:pt idx="1902">
                  <c:v>442</c:v>
                </c:pt>
                <c:pt idx="1903">
                  <c:v>443</c:v>
                </c:pt>
                <c:pt idx="1904">
                  <c:v>444</c:v>
                </c:pt>
                <c:pt idx="1905">
                  <c:v>445</c:v>
                </c:pt>
                <c:pt idx="1906">
                  <c:v>446</c:v>
                </c:pt>
                <c:pt idx="1907">
                  <c:v>447</c:v>
                </c:pt>
                <c:pt idx="1908">
                  <c:v>448</c:v>
                </c:pt>
                <c:pt idx="1909">
                  <c:v>449</c:v>
                </c:pt>
                <c:pt idx="1910">
                  <c:v>450</c:v>
                </c:pt>
                <c:pt idx="1911">
                  <c:v>451</c:v>
                </c:pt>
                <c:pt idx="1912">
                  <c:v>452</c:v>
                </c:pt>
                <c:pt idx="1913">
                  <c:v>453</c:v>
                </c:pt>
                <c:pt idx="1914">
                  <c:v>454</c:v>
                </c:pt>
                <c:pt idx="1915">
                  <c:v>455</c:v>
                </c:pt>
                <c:pt idx="1916">
                  <c:v>456</c:v>
                </c:pt>
                <c:pt idx="1917">
                  <c:v>457</c:v>
                </c:pt>
                <c:pt idx="1918">
                  <c:v>458</c:v>
                </c:pt>
                <c:pt idx="1919">
                  <c:v>459</c:v>
                </c:pt>
                <c:pt idx="1920">
                  <c:v>460</c:v>
                </c:pt>
                <c:pt idx="1921">
                  <c:v>461</c:v>
                </c:pt>
                <c:pt idx="1922">
                  <c:v>462</c:v>
                </c:pt>
                <c:pt idx="1923">
                  <c:v>463</c:v>
                </c:pt>
                <c:pt idx="1924">
                  <c:v>464</c:v>
                </c:pt>
                <c:pt idx="1925">
                  <c:v>465</c:v>
                </c:pt>
                <c:pt idx="1926">
                  <c:v>466</c:v>
                </c:pt>
                <c:pt idx="1927">
                  <c:v>467</c:v>
                </c:pt>
                <c:pt idx="1928">
                  <c:v>468</c:v>
                </c:pt>
                <c:pt idx="1929">
                  <c:v>469</c:v>
                </c:pt>
                <c:pt idx="1930">
                  <c:v>470</c:v>
                </c:pt>
                <c:pt idx="1931">
                  <c:v>471</c:v>
                </c:pt>
                <c:pt idx="1932">
                  <c:v>472</c:v>
                </c:pt>
                <c:pt idx="1933">
                  <c:v>473</c:v>
                </c:pt>
                <c:pt idx="1934">
                  <c:v>474</c:v>
                </c:pt>
                <c:pt idx="1935">
                  <c:v>475</c:v>
                </c:pt>
                <c:pt idx="1936">
                  <c:v>476</c:v>
                </c:pt>
                <c:pt idx="1937">
                  <c:v>477</c:v>
                </c:pt>
                <c:pt idx="1938">
                  <c:v>478</c:v>
                </c:pt>
                <c:pt idx="1939">
                  <c:v>479</c:v>
                </c:pt>
                <c:pt idx="1940">
                  <c:v>480</c:v>
                </c:pt>
                <c:pt idx="1941">
                  <c:v>481</c:v>
                </c:pt>
                <c:pt idx="1942">
                  <c:v>482</c:v>
                </c:pt>
                <c:pt idx="1943">
                  <c:v>483</c:v>
                </c:pt>
                <c:pt idx="1944">
                  <c:v>484</c:v>
                </c:pt>
                <c:pt idx="1945">
                  <c:v>485</c:v>
                </c:pt>
                <c:pt idx="1946">
                  <c:v>486</c:v>
                </c:pt>
                <c:pt idx="1947">
                  <c:v>487</c:v>
                </c:pt>
                <c:pt idx="1948">
                  <c:v>488</c:v>
                </c:pt>
                <c:pt idx="1949">
                  <c:v>489</c:v>
                </c:pt>
                <c:pt idx="1950">
                  <c:v>490</c:v>
                </c:pt>
                <c:pt idx="1951">
                  <c:v>491</c:v>
                </c:pt>
                <c:pt idx="1952">
                  <c:v>492</c:v>
                </c:pt>
                <c:pt idx="1953">
                  <c:v>493</c:v>
                </c:pt>
                <c:pt idx="1954">
                  <c:v>494</c:v>
                </c:pt>
                <c:pt idx="1955">
                  <c:v>495</c:v>
                </c:pt>
                <c:pt idx="1956">
                  <c:v>496</c:v>
                </c:pt>
                <c:pt idx="1957">
                  <c:v>497</c:v>
                </c:pt>
                <c:pt idx="1958">
                  <c:v>498</c:v>
                </c:pt>
                <c:pt idx="1959">
                  <c:v>499</c:v>
                </c:pt>
                <c:pt idx="1960">
                  <c:v>500</c:v>
                </c:pt>
                <c:pt idx="1961">
                  <c:v>501</c:v>
                </c:pt>
                <c:pt idx="1962">
                  <c:v>502</c:v>
                </c:pt>
                <c:pt idx="1963">
                  <c:v>503</c:v>
                </c:pt>
                <c:pt idx="1964">
                  <c:v>504</c:v>
                </c:pt>
                <c:pt idx="1965">
                  <c:v>505</c:v>
                </c:pt>
                <c:pt idx="1966">
                  <c:v>506</c:v>
                </c:pt>
                <c:pt idx="1967">
                  <c:v>507</c:v>
                </c:pt>
                <c:pt idx="1968">
                  <c:v>508</c:v>
                </c:pt>
                <c:pt idx="1969">
                  <c:v>509</c:v>
                </c:pt>
                <c:pt idx="1970">
                  <c:v>510</c:v>
                </c:pt>
                <c:pt idx="1971">
                  <c:v>511</c:v>
                </c:pt>
                <c:pt idx="1972">
                  <c:v>512</c:v>
                </c:pt>
                <c:pt idx="1973">
                  <c:v>513</c:v>
                </c:pt>
                <c:pt idx="1974">
                  <c:v>514</c:v>
                </c:pt>
                <c:pt idx="1975">
                  <c:v>515</c:v>
                </c:pt>
                <c:pt idx="1976">
                  <c:v>516</c:v>
                </c:pt>
                <c:pt idx="1977">
                  <c:v>517</c:v>
                </c:pt>
                <c:pt idx="1978">
                  <c:v>518</c:v>
                </c:pt>
                <c:pt idx="1979">
                  <c:v>519</c:v>
                </c:pt>
                <c:pt idx="1980">
                  <c:v>520</c:v>
                </c:pt>
                <c:pt idx="1981">
                  <c:v>521</c:v>
                </c:pt>
                <c:pt idx="1982">
                  <c:v>522</c:v>
                </c:pt>
                <c:pt idx="1983">
                  <c:v>523</c:v>
                </c:pt>
                <c:pt idx="1984">
                  <c:v>524</c:v>
                </c:pt>
                <c:pt idx="1985">
                  <c:v>525</c:v>
                </c:pt>
                <c:pt idx="1986">
                  <c:v>526</c:v>
                </c:pt>
                <c:pt idx="1987">
                  <c:v>527</c:v>
                </c:pt>
                <c:pt idx="1988">
                  <c:v>528</c:v>
                </c:pt>
                <c:pt idx="1989">
                  <c:v>529</c:v>
                </c:pt>
                <c:pt idx="1990">
                  <c:v>530</c:v>
                </c:pt>
                <c:pt idx="1991">
                  <c:v>531</c:v>
                </c:pt>
                <c:pt idx="1992">
                  <c:v>532</c:v>
                </c:pt>
                <c:pt idx="1993">
                  <c:v>533</c:v>
                </c:pt>
                <c:pt idx="1994">
                  <c:v>534</c:v>
                </c:pt>
                <c:pt idx="1995">
                  <c:v>535</c:v>
                </c:pt>
                <c:pt idx="1996">
                  <c:v>536</c:v>
                </c:pt>
                <c:pt idx="1997">
                  <c:v>537</c:v>
                </c:pt>
                <c:pt idx="1998">
                  <c:v>538</c:v>
                </c:pt>
                <c:pt idx="1999">
                  <c:v>539</c:v>
                </c:pt>
                <c:pt idx="2000">
                  <c:v>540</c:v>
                </c:pt>
                <c:pt idx="2001">
                  <c:v>541</c:v>
                </c:pt>
                <c:pt idx="2002">
                  <c:v>542</c:v>
                </c:pt>
                <c:pt idx="2003">
                  <c:v>543</c:v>
                </c:pt>
                <c:pt idx="2004">
                  <c:v>544</c:v>
                </c:pt>
                <c:pt idx="2005">
                  <c:v>545</c:v>
                </c:pt>
                <c:pt idx="2006">
                  <c:v>546</c:v>
                </c:pt>
                <c:pt idx="2007">
                  <c:v>547</c:v>
                </c:pt>
                <c:pt idx="2008">
                  <c:v>548</c:v>
                </c:pt>
                <c:pt idx="2009">
                  <c:v>549</c:v>
                </c:pt>
                <c:pt idx="2010">
                  <c:v>550</c:v>
                </c:pt>
                <c:pt idx="2011">
                  <c:v>551</c:v>
                </c:pt>
                <c:pt idx="2012">
                  <c:v>552</c:v>
                </c:pt>
                <c:pt idx="2013">
                  <c:v>553</c:v>
                </c:pt>
                <c:pt idx="2014">
                  <c:v>554</c:v>
                </c:pt>
                <c:pt idx="2015">
                  <c:v>555</c:v>
                </c:pt>
                <c:pt idx="2016">
                  <c:v>556</c:v>
                </c:pt>
                <c:pt idx="2017">
                  <c:v>557</c:v>
                </c:pt>
                <c:pt idx="2018">
                  <c:v>558</c:v>
                </c:pt>
                <c:pt idx="2019">
                  <c:v>559</c:v>
                </c:pt>
                <c:pt idx="2020">
                  <c:v>560</c:v>
                </c:pt>
                <c:pt idx="2021">
                  <c:v>561</c:v>
                </c:pt>
                <c:pt idx="2022">
                  <c:v>562</c:v>
                </c:pt>
                <c:pt idx="2023">
                  <c:v>563</c:v>
                </c:pt>
                <c:pt idx="2024">
                  <c:v>564</c:v>
                </c:pt>
                <c:pt idx="2025">
                  <c:v>565</c:v>
                </c:pt>
                <c:pt idx="2026">
                  <c:v>566</c:v>
                </c:pt>
                <c:pt idx="2027">
                  <c:v>567</c:v>
                </c:pt>
                <c:pt idx="2028">
                  <c:v>568</c:v>
                </c:pt>
                <c:pt idx="2029">
                  <c:v>569</c:v>
                </c:pt>
                <c:pt idx="2030">
                  <c:v>570</c:v>
                </c:pt>
                <c:pt idx="2031">
                  <c:v>571</c:v>
                </c:pt>
                <c:pt idx="2032">
                  <c:v>572</c:v>
                </c:pt>
                <c:pt idx="2033">
                  <c:v>573</c:v>
                </c:pt>
                <c:pt idx="2034">
                  <c:v>574</c:v>
                </c:pt>
                <c:pt idx="2035">
                  <c:v>575</c:v>
                </c:pt>
                <c:pt idx="2036">
                  <c:v>576</c:v>
                </c:pt>
                <c:pt idx="2037">
                  <c:v>577</c:v>
                </c:pt>
                <c:pt idx="2038">
                  <c:v>578</c:v>
                </c:pt>
                <c:pt idx="2039">
                  <c:v>579</c:v>
                </c:pt>
                <c:pt idx="2040">
                  <c:v>580</c:v>
                </c:pt>
                <c:pt idx="2041">
                  <c:v>581</c:v>
                </c:pt>
                <c:pt idx="2042">
                  <c:v>582</c:v>
                </c:pt>
                <c:pt idx="2043">
                  <c:v>583</c:v>
                </c:pt>
                <c:pt idx="2044">
                  <c:v>584</c:v>
                </c:pt>
                <c:pt idx="2045">
                  <c:v>585</c:v>
                </c:pt>
                <c:pt idx="2046">
                  <c:v>586</c:v>
                </c:pt>
                <c:pt idx="2047">
                  <c:v>587</c:v>
                </c:pt>
                <c:pt idx="2048">
                  <c:v>588</c:v>
                </c:pt>
                <c:pt idx="2049">
                  <c:v>589</c:v>
                </c:pt>
                <c:pt idx="2050">
                  <c:v>590</c:v>
                </c:pt>
                <c:pt idx="2051">
                  <c:v>591</c:v>
                </c:pt>
                <c:pt idx="2052">
                  <c:v>592</c:v>
                </c:pt>
                <c:pt idx="2053">
                  <c:v>593</c:v>
                </c:pt>
                <c:pt idx="2054">
                  <c:v>594</c:v>
                </c:pt>
                <c:pt idx="2055">
                  <c:v>595</c:v>
                </c:pt>
                <c:pt idx="2056">
                  <c:v>596</c:v>
                </c:pt>
                <c:pt idx="2057">
                  <c:v>597</c:v>
                </c:pt>
                <c:pt idx="2058">
                  <c:v>598</c:v>
                </c:pt>
                <c:pt idx="2059">
                  <c:v>599</c:v>
                </c:pt>
                <c:pt idx="2060">
                  <c:v>600</c:v>
                </c:pt>
                <c:pt idx="2061">
                  <c:v>601</c:v>
                </c:pt>
                <c:pt idx="2062">
                  <c:v>602</c:v>
                </c:pt>
                <c:pt idx="2063">
                  <c:v>603</c:v>
                </c:pt>
                <c:pt idx="2064">
                  <c:v>604</c:v>
                </c:pt>
                <c:pt idx="2065">
                  <c:v>605</c:v>
                </c:pt>
                <c:pt idx="2066">
                  <c:v>606</c:v>
                </c:pt>
                <c:pt idx="2067">
                  <c:v>607</c:v>
                </c:pt>
                <c:pt idx="2068">
                  <c:v>608</c:v>
                </c:pt>
                <c:pt idx="2069">
                  <c:v>609</c:v>
                </c:pt>
                <c:pt idx="2070">
                  <c:v>610</c:v>
                </c:pt>
                <c:pt idx="2071">
                  <c:v>611</c:v>
                </c:pt>
                <c:pt idx="2072">
                  <c:v>612</c:v>
                </c:pt>
                <c:pt idx="2073">
                  <c:v>613</c:v>
                </c:pt>
                <c:pt idx="2074">
                  <c:v>614</c:v>
                </c:pt>
                <c:pt idx="2075">
                  <c:v>615</c:v>
                </c:pt>
                <c:pt idx="2076">
                  <c:v>616</c:v>
                </c:pt>
                <c:pt idx="2077">
                  <c:v>617</c:v>
                </c:pt>
                <c:pt idx="2078">
                  <c:v>618</c:v>
                </c:pt>
                <c:pt idx="2079">
                  <c:v>619</c:v>
                </c:pt>
                <c:pt idx="2080">
                  <c:v>620</c:v>
                </c:pt>
                <c:pt idx="2081">
                  <c:v>621</c:v>
                </c:pt>
                <c:pt idx="2082">
                  <c:v>622</c:v>
                </c:pt>
                <c:pt idx="2083">
                  <c:v>623</c:v>
                </c:pt>
                <c:pt idx="2084">
                  <c:v>624</c:v>
                </c:pt>
                <c:pt idx="2085">
                  <c:v>625</c:v>
                </c:pt>
                <c:pt idx="2086">
                  <c:v>626</c:v>
                </c:pt>
                <c:pt idx="2087">
                  <c:v>627</c:v>
                </c:pt>
                <c:pt idx="2088">
                  <c:v>628</c:v>
                </c:pt>
                <c:pt idx="2089">
                  <c:v>629</c:v>
                </c:pt>
                <c:pt idx="2090">
                  <c:v>630</c:v>
                </c:pt>
                <c:pt idx="2091">
                  <c:v>631</c:v>
                </c:pt>
                <c:pt idx="2092">
                  <c:v>632</c:v>
                </c:pt>
                <c:pt idx="2093">
                  <c:v>633</c:v>
                </c:pt>
                <c:pt idx="2094">
                  <c:v>634</c:v>
                </c:pt>
                <c:pt idx="2095">
                  <c:v>635</c:v>
                </c:pt>
                <c:pt idx="2096">
                  <c:v>636</c:v>
                </c:pt>
                <c:pt idx="2097">
                  <c:v>637</c:v>
                </c:pt>
                <c:pt idx="2098">
                  <c:v>638</c:v>
                </c:pt>
                <c:pt idx="2099">
                  <c:v>639</c:v>
                </c:pt>
                <c:pt idx="2100">
                  <c:v>640</c:v>
                </c:pt>
                <c:pt idx="2101">
                  <c:v>641</c:v>
                </c:pt>
                <c:pt idx="2102">
                  <c:v>642</c:v>
                </c:pt>
                <c:pt idx="2103">
                  <c:v>643</c:v>
                </c:pt>
                <c:pt idx="2104">
                  <c:v>644</c:v>
                </c:pt>
                <c:pt idx="2105">
                  <c:v>645</c:v>
                </c:pt>
                <c:pt idx="2106">
                  <c:v>646</c:v>
                </c:pt>
                <c:pt idx="2107">
                  <c:v>647</c:v>
                </c:pt>
                <c:pt idx="2108">
                  <c:v>648</c:v>
                </c:pt>
                <c:pt idx="2109">
                  <c:v>649</c:v>
                </c:pt>
                <c:pt idx="2110">
                  <c:v>650</c:v>
                </c:pt>
                <c:pt idx="2111">
                  <c:v>651</c:v>
                </c:pt>
                <c:pt idx="2112">
                  <c:v>652</c:v>
                </c:pt>
                <c:pt idx="2113">
                  <c:v>653</c:v>
                </c:pt>
                <c:pt idx="2114">
                  <c:v>654</c:v>
                </c:pt>
                <c:pt idx="2115">
                  <c:v>655</c:v>
                </c:pt>
                <c:pt idx="2116">
                  <c:v>656</c:v>
                </c:pt>
                <c:pt idx="2117">
                  <c:v>657</c:v>
                </c:pt>
                <c:pt idx="2118">
                  <c:v>658</c:v>
                </c:pt>
                <c:pt idx="2119">
                  <c:v>659</c:v>
                </c:pt>
                <c:pt idx="2120">
                  <c:v>660</c:v>
                </c:pt>
                <c:pt idx="2121">
                  <c:v>661</c:v>
                </c:pt>
                <c:pt idx="2122">
                  <c:v>662</c:v>
                </c:pt>
                <c:pt idx="2123">
                  <c:v>663</c:v>
                </c:pt>
                <c:pt idx="2124">
                  <c:v>664</c:v>
                </c:pt>
                <c:pt idx="2125">
                  <c:v>665</c:v>
                </c:pt>
                <c:pt idx="2126">
                  <c:v>666</c:v>
                </c:pt>
                <c:pt idx="2127">
                  <c:v>667</c:v>
                </c:pt>
                <c:pt idx="2128">
                  <c:v>668</c:v>
                </c:pt>
                <c:pt idx="2129">
                  <c:v>669</c:v>
                </c:pt>
                <c:pt idx="2130">
                  <c:v>670</c:v>
                </c:pt>
                <c:pt idx="2131">
                  <c:v>671</c:v>
                </c:pt>
                <c:pt idx="2132">
                  <c:v>672</c:v>
                </c:pt>
                <c:pt idx="2133">
                  <c:v>673</c:v>
                </c:pt>
                <c:pt idx="2134">
                  <c:v>674</c:v>
                </c:pt>
                <c:pt idx="2135">
                  <c:v>675</c:v>
                </c:pt>
                <c:pt idx="2136">
                  <c:v>676</c:v>
                </c:pt>
                <c:pt idx="2137">
                  <c:v>677</c:v>
                </c:pt>
                <c:pt idx="2138">
                  <c:v>678</c:v>
                </c:pt>
                <c:pt idx="2139">
                  <c:v>679</c:v>
                </c:pt>
                <c:pt idx="2140">
                  <c:v>680</c:v>
                </c:pt>
                <c:pt idx="2141">
                  <c:v>681</c:v>
                </c:pt>
                <c:pt idx="2142">
                  <c:v>682</c:v>
                </c:pt>
                <c:pt idx="2143">
                  <c:v>683</c:v>
                </c:pt>
                <c:pt idx="2144">
                  <c:v>684</c:v>
                </c:pt>
                <c:pt idx="2145">
                  <c:v>685</c:v>
                </c:pt>
                <c:pt idx="2146">
                  <c:v>686</c:v>
                </c:pt>
                <c:pt idx="2147">
                  <c:v>687</c:v>
                </c:pt>
                <c:pt idx="2148">
                  <c:v>688</c:v>
                </c:pt>
                <c:pt idx="2149">
                  <c:v>689</c:v>
                </c:pt>
                <c:pt idx="2150">
                  <c:v>690</c:v>
                </c:pt>
                <c:pt idx="2151">
                  <c:v>691</c:v>
                </c:pt>
                <c:pt idx="2152">
                  <c:v>692</c:v>
                </c:pt>
                <c:pt idx="2153">
                  <c:v>693</c:v>
                </c:pt>
                <c:pt idx="2154">
                  <c:v>694</c:v>
                </c:pt>
                <c:pt idx="2155">
                  <c:v>695</c:v>
                </c:pt>
                <c:pt idx="2156">
                  <c:v>696</c:v>
                </c:pt>
                <c:pt idx="2157">
                  <c:v>697</c:v>
                </c:pt>
                <c:pt idx="2158">
                  <c:v>698</c:v>
                </c:pt>
                <c:pt idx="2159">
                  <c:v>699</c:v>
                </c:pt>
                <c:pt idx="2160">
                  <c:v>700</c:v>
                </c:pt>
                <c:pt idx="2161">
                  <c:v>701</c:v>
                </c:pt>
                <c:pt idx="2162">
                  <c:v>702</c:v>
                </c:pt>
                <c:pt idx="2163">
                  <c:v>703</c:v>
                </c:pt>
                <c:pt idx="2164">
                  <c:v>704</c:v>
                </c:pt>
                <c:pt idx="2165">
                  <c:v>705</c:v>
                </c:pt>
                <c:pt idx="2166">
                  <c:v>706</c:v>
                </c:pt>
                <c:pt idx="2167">
                  <c:v>707</c:v>
                </c:pt>
                <c:pt idx="2168">
                  <c:v>708</c:v>
                </c:pt>
                <c:pt idx="2169">
                  <c:v>709</c:v>
                </c:pt>
                <c:pt idx="2170">
                  <c:v>710</c:v>
                </c:pt>
                <c:pt idx="2171">
                  <c:v>711</c:v>
                </c:pt>
                <c:pt idx="2172">
                  <c:v>712</c:v>
                </c:pt>
                <c:pt idx="2173">
                  <c:v>713</c:v>
                </c:pt>
                <c:pt idx="2174">
                  <c:v>714</c:v>
                </c:pt>
                <c:pt idx="2175">
                  <c:v>715</c:v>
                </c:pt>
                <c:pt idx="2176">
                  <c:v>716</c:v>
                </c:pt>
                <c:pt idx="2177">
                  <c:v>717</c:v>
                </c:pt>
                <c:pt idx="2178">
                  <c:v>718</c:v>
                </c:pt>
                <c:pt idx="2179">
                  <c:v>719</c:v>
                </c:pt>
                <c:pt idx="2180">
                  <c:v>720</c:v>
                </c:pt>
                <c:pt idx="2181">
                  <c:v>721</c:v>
                </c:pt>
                <c:pt idx="2182">
                  <c:v>722</c:v>
                </c:pt>
                <c:pt idx="2183">
                  <c:v>723</c:v>
                </c:pt>
                <c:pt idx="2184">
                  <c:v>724</c:v>
                </c:pt>
                <c:pt idx="2185">
                  <c:v>725</c:v>
                </c:pt>
                <c:pt idx="2186">
                  <c:v>726</c:v>
                </c:pt>
                <c:pt idx="2187">
                  <c:v>727</c:v>
                </c:pt>
                <c:pt idx="2188">
                  <c:v>728</c:v>
                </c:pt>
                <c:pt idx="2189">
                  <c:v>729</c:v>
                </c:pt>
                <c:pt idx="2190">
                  <c:v>730</c:v>
                </c:pt>
                <c:pt idx="2191">
                  <c:v>731</c:v>
                </c:pt>
                <c:pt idx="2192">
                  <c:v>732</c:v>
                </c:pt>
                <c:pt idx="2193">
                  <c:v>733</c:v>
                </c:pt>
                <c:pt idx="2194">
                  <c:v>734</c:v>
                </c:pt>
                <c:pt idx="2195">
                  <c:v>735</c:v>
                </c:pt>
                <c:pt idx="2196">
                  <c:v>736</c:v>
                </c:pt>
                <c:pt idx="2197">
                  <c:v>737</c:v>
                </c:pt>
                <c:pt idx="2198">
                  <c:v>738</c:v>
                </c:pt>
                <c:pt idx="2199">
                  <c:v>739</c:v>
                </c:pt>
                <c:pt idx="2200">
                  <c:v>740</c:v>
                </c:pt>
                <c:pt idx="2201">
                  <c:v>741</c:v>
                </c:pt>
                <c:pt idx="2202">
                  <c:v>742</c:v>
                </c:pt>
                <c:pt idx="2203">
                  <c:v>743</c:v>
                </c:pt>
                <c:pt idx="2204">
                  <c:v>744</c:v>
                </c:pt>
                <c:pt idx="2205">
                  <c:v>745</c:v>
                </c:pt>
                <c:pt idx="2206">
                  <c:v>746</c:v>
                </c:pt>
                <c:pt idx="2207">
                  <c:v>747</c:v>
                </c:pt>
                <c:pt idx="2208">
                  <c:v>748</c:v>
                </c:pt>
                <c:pt idx="2209">
                  <c:v>749</c:v>
                </c:pt>
                <c:pt idx="2210">
                  <c:v>750</c:v>
                </c:pt>
                <c:pt idx="2211">
                  <c:v>751</c:v>
                </c:pt>
                <c:pt idx="2212">
                  <c:v>752</c:v>
                </c:pt>
                <c:pt idx="2213">
                  <c:v>753</c:v>
                </c:pt>
                <c:pt idx="2214">
                  <c:v>754</c:v>
                </c:pt>
                <c:pt idx="2215">
                  <c:v>755</c:v>
                </c:pt>
                <c:pt idx="2216">
                  <c:v>756</c:v>
                </c:pt>
                <c:pt idx="2217">
                  <c:v>757</c:v>
                </c:pt>
                <c:pt idx="2218">
                  <c:v>758</c:v>
                </c:pt>
                <c:pt idx="2219">
                  <c:v>759</c:v>
                </c:pt>
                <c:pt idx="2220">
                  <c:v>760</c:v>
                </c:pt>
                <c:pt idx="2221">
                  <c:v>761</c:v>
                </c:pt>
                <c:pt idx="2222">
                  <c:v>762</c:v>
                </c:pt>
                <c:pt idx="2223">
                  <c:v>763</c:v>
                </c:pt>
                <c:pt idx="2224">
                  <c:v>764</c:v>
                </c:pt>
                <c:pt idx="2225">
                  <c:v>765</c:v>
                </c:pt>
                <c:pt idx="2226">
                  <c:v>766</c:v>
                </c:pt>
                <c:pt idx="2227">
                  <c:v>767</c:v>
                </c:pt>
                <c:pt idx="2228">
                  <c:v>768</c:v>
                </c:pt>
                <c:pt idx="2229">
                  <c:v>769</c:v>
                </c:pt>
                <c:pt idx="2230">
                  <c:v>770</c:v>
                </c:pt>
                <c:pt idx="2231">
                  <c:v>771</c:v>
                </c:pt>
                <c:pt idx="2232">
                  <c:v>772</c:v>
                </c:pt>
                <c:pt idx="2233">
                  <c:v>773</c:v>
                </c:pt>
                <c:pt idx="2234">
                  <c:v>774</c:v>
                </c:pt>
                <c:pt idx="2235">
                  <c:v>775</c:v>
                </c:pt>
                <c:pt idx="2236">
                  <c:v>776</c:v>
                </c:pt>
                <c:pt idx="2237">
                  <c:v>777</c:v>
                </c:pt>
                <c:pt idx="2238">
                  <c:v>778</c:v>
                </c:pt>
                <c:pt idx="2239">
                  <c:v>779</c:v>
                </c:pt>
                <c:pt idx="2240">
                  <c:v>780</c:v>
                </c:pt>
                <c:pt idx="2241">
                  <c:v>781</c:v>
                </c:pt>
                <c:pt idx="2242">
                  <c:v>782</c:v>
                </c:pt>
                <c:pt idx="2243">
                  <c:v>783</c:v>
                </c:pt>
                <c:pt idx="2244">
                  <c:v>784</c:v>
                </c:pt>
                <c:pt idx="2245">
                  <c:v>785</c:v>
                </c:pt>
                <c:pt idx="2246">
                  <c:v>786</c:v>
                </c:pt>
                <c:pt idx="2247">
                  <c:v>787</c:v>
                </c:pt>
                <c:pt idx="2248">
                  <c:v>788</c:v>
                </c:pt>
                <c:pt idx="2249">
                  <c:v>789</c:v>
                </c:pt>
                <c:pt idx="2250">
                  <c:v>790</c:v>
                </c:pt>
                <c:pt idx="2251">
                  <c:v>791</c:v>
                </c:pt>
                <c:pt idx="2252">
                  <c:v>792</c:v>
                </c:pt>
                <c:pt idx="2253">
                  <c:v>793</c:v>
                </c:pt>
                <c:pt idx="2254">
                  <c:v>794</c:v>
                </c:pt>
                <c:pt idx="2255">
                  <c:v>795</c:v>
                </c:pt>
                <c:pt idx="2256">
                  <c:v>796</c:v>
                </c:pt>
                <c:pt idx="2257">
                  <c:v>797</c:v>
                </c:pt>
                <c:pt idx="2258">
                  <c:v>798</c:v>
                </c:pt>
                <c:pt idx="2259">
                  <c:v>799</c:v>
                </c:pt>
                <c:pt idx="2260">
                  <c:v>800</c:v>
                </c:pt>
                <c:pt idx="2261">
                  <c:v>801</c:v>
                </c:pt>
                <c:pt idx="2262">
                  <c:v>802</c:v>
                </c:pt>
                <c:pt idx="2263">
                  <c:v>803</c:v>
                </c:pt>
                <c:pt idx="2264">
                  <c:v>804</c:v>
                </c:pt>
                <c:pt idx="2265">
                  <c:v>805</c:v>
                </c:pt>
                <c:pt idx="2266">
                  <c:v>806</c:v>
                </c:pt>
                <c:pt idx="2267">
                  <c:v>807</c:v>
                </c:pt>
                <c:pt idx="2268">
                  <c:v>808</c:v>
                </c:pt>
                <c:pt idx="2269">
                  <c:v>809</c:v>
                </c:pt>
                <c:pt idx="2270">
                  <c:v>810</c:v>
                </c:pt>
                <c:pt idx="2271">
                  <c:v>811</c:v>
                </c:pt>
                <c:pt idx="2272">
                  <c:v>812</c:v>
                </c:pt>
                <c:pt idx="2273">
                  <c:v>813</c:v>
                </c:pt>
                <c:pt idx="2274">
                  <c:v>814</c:v>
                </c:pt>
                <c:pt idx="2275">
                  <c:v>815</c:v>
                </c:pt>
                <c:pt idx="2276">
                  <c:v>816</c:v>
                </c:pt>
                <c:pt idx="2277">
                  <c:v>817</c:v>
                </c:pt>
                <c:pt idx="2278">
                  <c:v>818</c:v>
                </c:pt>
                <c:pt idx="2279">
                  <c:v>819</c:v>
                </c:pt>
                <c:pt idx="2280">
                  <c:v>820</c:v>
                </c:pt>
                <c:pt idx="2281">
                  <c:v>821</c:v>
                </c:pt>
                <c:pt idx="2282">
                  <c:v>822</c:v>
                </c:pt>
                <c:pt idx="2283">
                  <c:v>823</c:v>
                </c:pt>
                <c:pt idx="2284">
                  <c:v>824</c:v>
                </c:pt>
                <c:pt idx="2285">
                  <c:v>825</c:v>
                </c:pt>
                <c:pt idx="2286">
                  <c:v>826</c:v>
                </c:pt>
                <c:pt idx="2287">
                  <c:v>827</c:v>
                </c:pt>
                <c:pt idx="2288">
                  <c:v>828</c:v>
                </c:pt>
                <c:pt idx="2289">
                  <c:v>829</c:v>
                </c:pt>
                <c:pt idx="2290">
                  <c:v>830</c:v>
                </c:pt>
                <c:pt idx="2291">
                  <c:v>831</c:v>
                </c:pt>
                <c:pt idx="2292">
                  <c:v>832</c:v>
                </c:pt>
                <c:pt idx="2293">
                  <c:v>833</c:v>
                </c:pt>
                <c:pt idx="2294">
                  <c:v>834</c:v>
                </c:pt>
                <c:pt idx="2295">
                  <c:v>835</c:v>
                </c:pt>
                <c:pt idx="2296">
                  <c:v>836</c:v>
                </c:pt>
                <c:pt idx="2297">
                  <c:v>837</c:v>
                </c:pt>
                <c:pt idx="2298">
                  <c:v>838</c:v>
                </c:pt>
                <c:pt idx="2299">
                  <c:v>839</c:v>
                </c:pt>
                <c:pt idx="2300">
                  <c:v>840</c:v>
                </c:pt>
                <c:pt idx="2301">
                  <c:v>841</c:v>
                </c:pt>
                <c:pt idx="2302">
                  <c:v>842</c:v>
                </c:pt>
                <c:pt idx="2303">
                  <c:v>843</c:v>
                </c:pt>
                <c:pt idx="2304">
                  <c:v>844</c:v>
                </c:pt>
                <c:pt idx="2305">
                  <c:v>845</c:v>
                </c:pt>
                <c:pt idx="2306">
                  <c:v>846</c:v>
                </c:pt>
                <c:pt idx="2307">
                  <c:v>847</c:v>
                </c:pt>
                <c:pt idx="2308">
                  <c:v>848</c:v>
                </c:pt>
                <c:pt idx="2309">
                  <c:v>849</c:v>
                </c:pt>
                <c:pt idx="2310">
                  <c:v>850</c:v>
                </c:pt>
                <c:pt idx="2311">
                  <c:v>851</c:v>
                </c:pt>
                <c:pt idx="2312">
                  <c:v>852</c:v>
                </c:pt>
                <c:pt idx="2313">
                  <c:v>853</c:v>
                </c:pt>
                <c:pt idx="2314">
                  <c:v>854</c:v>
                </c:pt>
                <c:pt idx="2315">
                  <c:v>855</c:v>
                </c:pt>
                <c:pt idx="2316">
                  <c:v>856</c:v>
                </c:pt>
                <c:pt idx="2317">
                  <c:v>857</c:v>
                </c:pt>
                <c:pt idx="2318">
                  <c:v>858</c:v>
                </c:pt>
                <c:pt idx="2319">
                  <c:v>859</c:v>
                </c:pt>
                <c:pt idx="2320">
                  <c:v>860</c:v>
                </c:pt>
                <c:pt idx="2321">
                  <c:v>861</c:v>
                </c:pt>
                <c:pt idx="2322">
                  <c:v>862</c:v>
                </c:pt>
                <c:pt idx="2323">
                  <c:v>863</c:v>
                </c:pt>
                <c:pt idx="2324">
                  <c:v>864</c:v>
                </c:pt>
                <c:pt idx="2325">
                  <c:v>865</c:v>
                </c:pt>
                <c:pt idx="2326">
                  <c:v>866</c:v>
                </c:pt>
                <c:pt idx="2327">
                  <c:v>867</c:v>
                </c:pt>
                <c:pt idx="2328">
                  <c:v>868</c:v>
                </c:pt>
                <c:pt idx="2329">
                  <c:v>869</c:v>
                </c:pt>
                <c:pt idx="2330">
                  <c:v>870</c:v>
                </c:pt>
                <c:pt idx="2331">
                  <c:v>871</c:v>
                </c:pt>
                <c:pt idx="2332">
                  <c:v>872</c:v>
                </c:pt>
                <c:pt idx="2333">
                  <c:v>873</c:v>
                </c:pt>
                <c:pt idx="2334">
                  <c:v>874</c:v>
                </c:pt>
                <c:pt idx="2335">
                  <c:v>875</c:v>
                </c:pt>
                <c:pt idx="2336">
                  <c:v>876</c:v>
                </c:pt>
                <c:pt idx="2337">
                  <c:v>877</c:v>
                </c:pt>
                <c:pt idx="2338">
                  <c:v>878</c:v>
                </c:pt>
                <c:pt idx="2339">
                  <c:v>879</c:v>
                </c:pt>
                <c:pt idx="2340">
                  <c:v>880</c:v>
                </c:pt>
                <c:pt idx="2341">
                  <c:v>881</c:v>
                </c:pt>
                <c:pt idx="2342">
                  <c:v>882</c:v>
                </c:pt>
                <c:pt idx="2343">
                  <c:v>883</c:v>
                </c:pt>
                <c:pt idx="2344">
                  <c:v>884</c:v>
                </c:pt>
                <c:pt idx="2345">
                  <c:v>885</c:v>
                </c:pt>
                <c:pt idx="2346">
                  <c:v>886</c:v>
                </c:pt>
                <c:pt idx="2347">
                  <c:v>887</c:v>
                </c:pt>
                <c:pt idx="2348">
                  <c:v>888</c:v>
                </c:pt>
                <c:pt idx="2349">
                  <c:v>889</c:v>
                </c:pt>
                <c:pt idx="2350">
                  <c:v>890</c:v>
                </c:pt>
                <c:pt idx="2351">
                  <c:v>891</c:v>
                </c:pt>
                <c:pt idx="2352">
                  <c:v>892</c:v>
                </c:pt>
                <c:pt idx="2353">
                  <c:v>893</c:v>
                </c:pt>
                <c:pt idx="2354">
                  <c:v>894</c:v>
                </c:pt>
                <c:pt idx="2355">
                  <c:v>895</c:v>
                </c:pt>
                <c:pt idx="2356">
                  <c:v>896</c:v>
                </c:pt>
                <c:pt idx="2357">
                  <c:v>897</c:v>
                </c:pt>
                <c:pt idx="2358">
                  <c:v>898</c:v>
                </c:pt>
                <c:pt idx="2359">
                  <c:v>899</c:v>
                </c:pt>
                <c:pt idx="2360">
                  <c:v>900</c:v>
                </c:pt>
                <c:pt idx="2361">
                  <c:v>901</c:v>
                </c:pt>
                <c:pt idx="2362">
                  <c:v>902</c:v>
                </c:pt>
                <c:pt idx="2363">
                  <c:v>903</c:v>
                </c:pt>
                <c:pt idx="2364">
                  <c:v>904</c:v>
                </c:pt>
                <c:pt idx="2365">
                  <c:v>905</c:v>
                </c:pt>
                <c:pt idx="2366">
                  <c:v>906</c:v>
                </c:pt>
                <c:pt idx="2367">
                  <c:v>907</c:v>
                </c:pt>
                <c:pt idx="2368">
                  <c:v>908</c:v>
                </c:pt>
                <c:pt idx="2369">
                  <c:v>909</c:v>
                </c:pt>
                <c:pt idx="2370">
                  <c:v>910</c:v>
                </c:pt>
                <c:pt idx="2371">
                  <c:v>911</c:v>
                </c:pt>
                <c:pt idx="2372">
                  <c:v>912</c:v>
                </c:pt>
                <c:pt idx="2373">
                  <c:v>913</c:v>
                </c:pt>
                <c:pt idx="2374">
                  <c:v>914</c:v>
                </c:pt>
                <c:pt idx="2375">
                  <c:v>915</c:v>
                </c:pt>
                <c:pt idx="2376">
                  <c:v>916</c:v>
                </c:pt>
                <c:pt idx="2377">
                  <c:v>917</c:v>
                </c:pt>
                <c:pt idx="2378">
                  <c:v>918</c:v>
                </c:pt>
                <c:pt idx="2379">
                  <c:v>919</c:v>
                </c:pt>
                <c:pt idx="2380">
                  <c:v>920</c:v>
                </c:pt>
                <c:pt idx="2381">
                  <c:v>921</c:v>
                </c:pt>
                <c:pt idx="2382">
                  <c:v>922</c:v>
                </c:pt>
                <c:pt idx="2383">
                  <c:v>923</c:v>
                </c:pt>
                <c:pt idx="2384">
                  <c:v>924</c:v>
                </c:pt>
                <c:pt idx="2385">
                  <c:v>925</c:v>
                </c:pt>
                <c:pt idx="2386">
                  <c:v>926</c:v>
                </c:pt>
                <c:pt idx="2387">
                  <c:v>927</c:v>
                </c:pt>
                <c:pt idx="2388">
                  <c:v>928</c:v>
                </c:pt>
                <c:pt idx="2389">
                  <c:v>929</c:v>
                </c:pt>
                <c:pt idx="2390">
                  <c:v>930</c:v>
                </c:pt>
                <c:pt idx="2391">
                  <c:v>931</c:v>
                </c:pt>
                <c:pt idx="2392">
                  <c:v>932</c:v>
                </c:pt>
                <c:pt idx="2393">
                  <c:v>933</c:v>
                </c:pt>
                <c:pt idx="2394">
                  <c:v>934</c:v>
                </c:pt>
                <c:pt idx="2395">
                  <c:v>935</c:v>
                </c:pt>
                <c:pt idx="2396">
                  <c:v>936</c:v>
                </c:pt>
                <c:pt idx="2397">
                  <c:v>937</c:v>
                </c:pt>
                <c:pt idx="2398">
                  <c:v>938</c:v>
                </c:pt>
                <c:pt idx="2399">
                  <c:v>939</c:v>
                </c:pt>
                <c:pt idx="2400">
                  <c:v>940</c:v>
                </c:pt>
                <c:pt idx="2401">
                  <c:v>941</c:v>
                </c:pt>
                <c:pt idx="2402">
                  <c:v>942</c:v>
                </c:pt>
                <c:pt idx="2403">
                  <c:v>943</c:v>
                </c:pt>
                <c:pt idx="2404">
                  <c:v>944</c:v>
                </c:pt>
                <c:pt idx="2405">
                  <c:v>945</c:v>
                </c:pt>
                <c:pt idx="2406">
                  <c:v>946</c:v>
                </c:pt>
                <c:pt idx="2407">
                  <c:v>947</c:v>
                </c:pt>
                <c:pt idx="2408">
                  <c:v>948</c:v>
                </c:pt>
                <c:pt idx="2409">
                  <c:v>949</c:v>
                </c:pt>
                <c:pt idx="2410">
                  <c:v>950</c:v>
                </c:pt>
                <c:pt idx="2411">
                  <c:v>951</c:v>
                </c:pt>
                <c:pt idx="2412">
                  <c:v>952</c:v>
                </c:pt>
                <c:pt idx="2413">
                  <c:v>953</c:v>
                </c:pt>
                <c:pt idx="2414">
                  <c:v>954</c:v>
                </c:pt>
                <c:pt idx="2415">
                  <c:v>955</c:v>
                </c:pt>
                <c:pt idx="2416">
                  <c:v>956</c:v>
                </c:pt>
                <c:pt idx="2417">
                  <c:v>957</c:v>
                </c:pt>
                <c:pt idx="2418">
                  <c:v>958</c:v>
                </c:pt>
                <c:pt idx="2419">
                  <c:v>959</c:v>
                </c:pt>
                <c:pt idx="2420">
                  <c:v>960</c:v>
                </c:pt>
                <c:pt idx="2421">
                  <c:v>961</c:v>
                </c:pt>
                <c:pt idx="2422">
                  <c:v>962</c:v>
                </c:pt>
                <c:pt idx="2423">
                  <c:v>963</c:v>
                </c:pt>
                <c:pt idx="2424">
                  <c:v>964</c:v>
                </c:pt>
                <c:pt idx="2425">
                  <c:v>965</c:v>
                </c:pt>
                <c:pt idx="2426">
                  <c:v>966</c:v>
                </c:pt>
                <c:pt idx="2427">
                  <c:v>967</c:v>
                </c:pt>
                <c:pt idx="2428">
                  <c:v>968</c:v>
                </c:pt>
                <c:pt idx="2429">
                  <c:v>969</c:v>
                </c:pt>
                <c:pt idx="2430">
                  <c:v>970</c:v>
                </c:pt>
                <c:pt idx="2431">
                  <c:v>971</c:v>
                </c:pt>
                <c:pt idx="2432">
                  <c:v>972</c:v>
                </c:pt>
                <c:pt idx="2433">
                  <c:v>973</c:v>
                </c:pt>
                <c:pt idx="2434">
                  <c:v>974</c:v>
                </c:pt>
                <c:pt idx="2435">
                  <c:v>975</c:v>
                </c:pt>
                <c:pt idx="2436">
                  <c:v>976</c:v>
                </c:pt>
                <c:pt idx="2437">
                  <c:v>977</c:v>
                </c:pt>
                <c:pt idx="2438">
                  <c:v>978</c:v>
                </c:pt>
                <c:pt idx="2439">
                  <c:v>979</c:v>
                </c:pt>
                <c:pt idx="2440">
                  <c:v>980</c:v>
                </c:pt>
                <c:pt idx="2441">
                  <c:v>981</c:v>
                </c:pt>
                <c:pt idx="2442">
                  <c:v>982</c:v>
                </c:pt>
                <c:pt idx="2443">
                  <c:v>983</c:v>
                </c:pt>
                <c:pt idx="2444">
                  <c:v>984</c:v>
                </c:pt>
                <c:pt idx="2445">
                  <c:v>985</c:v>
                </c:pt>
                <c:pt idx="2446">
                  <c:v>986</c:v>
                </c:pt>
                <c:pt idx="2447">
                  <c:v>987</c:v>
                </c:pt>
                <c:pt idx="2448">
                  <c:v>988</c:v>
                </c:pt>
                <c:pt idx="2449">
                  <c:v>989</c:v>
                </c:pt>
                <c:pt idx="2450">
                  <c:v>990</c:v>
                </c:pt>
                <c:pt idx="2451">
                  <c:v>991</c:v>
                </c:pt>
                <c:pt idx="2452">
                  <c:v>992</c:v>
                </c:pt>
                <c:pt idx="2453">
                  <c:v>993</c:v>
                </c:pt>
                <c:pt idx="2454">
                  <c:v>994</c:v>
                </c:pt>
                <c:pt idx="2455">
                  <c:v>995</c:v>
                </c:pt>
                <c:pt idx="2456">
                  <c:v>996</c:v>
                </c:pt>
                <c:pt idx="2457">
                  <c:v>997</c:v>
                </c:pt>
                <c:pt idx="2458">
                  <c:v>998</c:v>
                </c:pt>
                <c:pt idx="2459">
                  <c:v>999</c:v>
                </c:pt>
                <c:pt idx="2460">
                  <c:v>1000</c:v>
                </c:pt>
                <c:pt idx="2461">
                  <c:v>1001</c:v>
                </c:pt>
                <c:pt idx="2462">
                  <c:v>1002</c:v>
                </c:pt>
                <c:pt idx="2463">
                  <c:v>1003</c:v>
                </c:pt>
                <c:pt idx="2464">
                  <c:v>1004</c:v>
                </c:pt>
                <c:pt idx="2465">
                  <c:v>1005</c:v>
                </c:pt>
                <c:pt idx="2466">
                  <c:v>1006</c:v>
                </c:pt>
                <c:pt idx="2467">
                  <c:v>1007</c:v>
                </c:pt>
                <c:pt idx="2468">
                  <c:v>1008</c:v>
                </c:pt>
                <c:pt idx="2469">
                  <c:v>1009</c:v>
                </c:pt>
                <c:pt idx="2470">
                  <c:v>1010</c:v>
                </c:pt>
                <c:pt idx="2471">
                  <c:v>1011</c:v>
                </c:pt>
                <c:pt idx="2472">
                  <c:v>1012</c:v>
                </c:pt>
                <c:pt idx="2473">
                  <c:v>1013</c:v>
                </c:pt>
                <c:pt idx="2474">
                  <c:v>1014</c:v>
                </c:pt>
                <c:pt idx="2475">
                  <c:v>1015</c:v>
                </c:pt>
                <c:pt idx="2476">
                  <c:v>1016</c:v>
                </c:pt>
                <c:pt idx="2477">
                  <c:v>1017</c:v>
                </c:pt>
                <c:pt idx="2478">
                  <c:v>1018</c:v>
                </c:pt>
                <c:pt idx="2479">
                  <c:v>1019</c:v>
                </c:pt>
                <c:pt idx="2480">
                  <c:v>1020</c:v>
                </c:pt>
                <c:pt idx="2481">
                  <c:v>1021</c:v>
                </c:pt>
                <c:pt idx="2482">
                  <c:v>1022</c:v>
                </c:pt>
                <c:pt idx="2483">
                  <c:v>1023</c:v>
                </c:pt>
                <c:pt idx="2484">
                  <c:v>1024</c:v>
                </c:pt>
                <c:pt idx="2485">
                  <c:v>1025</c:v>
                </c:pt>
                <c:pt idx="2486">
                  <c:v>1026</c:v>
                </c:pt>
                <c:pt idx="2487">
                  <c:v>1027</c:v>
                </c:pt>
                <c:pt idx="2488">
                  <c:v>1028</c:v>
                </c:pt>
                <c:pt idx="2489">
                  <c:v>1029</c:v>
                </c:pt>
                <c:pt idx="2490">
                  <c:v>1030</c:v>
                </c:pt>
                <c:pt idx="2491">
                  <c:v>1031</c:v>
                </c:pt>
                <c:pt idx="2492">
                  <c:v>1032</c:v>
                </c:pt>
                <c:pt idx="2493">
                  <c:v>1033</c:v>
                </c:pt>
                <c:pt idx="2494">
                  <c:v>1034</c:v>
                </c:pt>
                <c:pt idx="2495">
                  <c:v>1035</c:v>
                </c:pt>
                <c:pt idx="2496">
                  <c:v>1036</c:v>
                </c:pt>
                <c:pt idx="2497">
                  <c:v>1037</c:v>
                </c:pt>
                <c:pt idx="2498">
                  <c:v>1038</c:v>
                </c:pt>
                <c:pt idx="2499">
                  <c:v>1039</c:v>
                </c:pt>
                <c:pt idx="2500">
                  <c:v>1040</c:v>
                </c:pt>
                <c:pt idx="2501">
                  <c:v>1041</c:v>
                </c:pt>
                <c:pt idx="2502">
                  <c:v>1042</c:v>
                </c:pt>
                <c:pt idx="2503">
                  <c:v>1043</c:v>
                </c:pt>
                <c:pt idx="2504">
                  <c:v>1044</c:v>
                </c:pt>
                <c:pt idx="2505">
                  <c:v>1045</c:v>
                </c:pt>
                <c:pt idx="2506">
                  <c:v>1046</c:v>
                </c:pt>
                <c:pt idx="2507">
                  <c:v>1047</c:v>
                </c:pt>
                <c:pt idx="2508">
                  <c:v>1048</c:v>
                </c:pt>
                <c:pt idx="2509">
                  <c:v>1049</c:v>
                </c:pt>
                <c:pt idx="2510">
                  <c:v>1050</c:v>
                </c:pt>
                <c:pt idx="2511">
                  <c:v>1051</c:v>
                </c:pt>
                <c:pt idx="2512">
                  <c:v>1052</c:v>
                </c:pt>
                <c:pt idx="2513">
                  <c:v>1053</c:v>
                </c:pt>
                <c:pt idx="2514">
                  <c:v>1054</c:v>
                </c:pt>
                <c:pt idx="2515">
                  <c:v>1055</c:v>
                </c:pt>
                <c:pt idx="2516">
                  <c:v>1056</c:v>
                </c:pt>
                <c:pt idx="2517">
                  <c:v>1057</c:v>
                </c:pt>
                <c:pt idx="2518">
                  <c:v>1058</c:v>
                </c:pt>
                <c:pt idx="2519">
                  <c:v>1059</c:v>
                </c:pt>
                <c:pt idx="2520">
                  <c:v>1060</c:v>
                </c:pt>
                <c:pt idx="2521">
                  <c:v>1061</c:v>
                </c:pt>
                <c:pt idx="2522">
                  <c:v>1062</c:v>
                </c:pt>
                <c:pt idx="2523">
                  <c:v>1063</c:v>
                </c:pt>
                <c:pt idx="2524">
                  <c:v>1064</c:v>
                </c:pt>
                <c:pt idx="2525">
                  <c:v>1065</c:v>
                </c:pt>
                <c:pt idx="2526">
                  <c:v>1066</c:v>
                </c:pt>
                <c:pt idx="2527">
                  <c:v>1067</c:v>
                </c:pt>
                <c:pt idx="2528">
                  <c:v>1068</c:v>
                </c:pt>
                <c:pt idx="2529">
                  <c:v>1069</c:v>
                </c:pt>
                <c:pt idx="2530">
                  <c:v>1070</c:v>
                </c:pt>
                <c:pt idx="2531">
                  <c:v>1071</c:v>
                </c:pt>
                <c:pt idx="2532">
                  <c:v>1072</c:v>
                </c:pt>
                <c:pt idx="2533">
                  <c:v>1073</c:v>
                </c:pt>
                <c:pt idx="2534">
                  <c:v>1074</c:v>
                </c:pt>
                <c:pt idx="2535">
                  <c:v>1075</c:v>
                </c:pt>
                <c:pt idx="2536">
                  <c:v>1076</c:v>
                </c:pt>
                <c:pt idx="2537">
                  <c:v>1077</c:v>
                </c:pt>
                <c:pt idx="2538">
                  <c:v>1078</c:v>
                </c:pt>
                <c:pt idx="2539">
                  <c:v>1079</c:v>
                </c:pt>
                <c:pt idx="2540">
                  <c:v>1080</c:v>
                </c:pt>
                <c:pt idx="2541">
                  <c:v>1081</c:v>
                </c:pt>
                <c:pt idx="2542">
                  <c:v>1082</c:v>
                </c:pt>
                <c:pt idx="2543">
                  <c:v>1083</c:v>
                </c:pt>
                <c:pt idx="2544">
                  <c:v>1084</c:v>
                </c:pt>
                <c:pt idx="2545">
                  <c:v>1085</c:v>
                </c:pt>
                <c:pt idx="2546">
                  <c:v>1086</c:v>
                </c:pt>
                <c:pt idx="2547">
                  <c:v>1087</c:v>
                </c:pt>
                <c:pt idx="2548">
                  <c:v>1088</c:v>
                </c:pt>
                <c:pt idx="2549">
                  <c:v>1089</c:v>
                </c:pt>
                <c:pt idx="2550">
                  <c:v>1090</c:v>
                </c:pt>
                <c:pt idx="2551">
                  <c:v>1091</c:v>
                </c:pt>
                <c:pt idx="2552">
                  <c:v>1092</c:v>
                </c:pt>
                <c:pt idx="2553">
                  <c:v>1093</c:v>
                </c:pt>
                <c:pt idx="2554">
                  <c:v>1094</c:v>
                </c:pt>
                <c:pt idx="2555">
                  <c:v>1095</c:v>
                </c:pt>
                <c:pt idx="2556">
                  <c:v>1096</c:v>
                </c:pt>
                <c:pt idx="2557">
                  <c:v>1097</c:v>
                </c:pt>
                <c:pt idx="2558">
                  <c:v>1098</c:v>
                </c:pt>
                <c:pt idx="2559">
                  <c:v>1099</c:v>
                </c:pt>
                <c:pt idx="2560">
                  <c:v>1100</c:v>
                </c:pt>
                <c:pt idx="2561">
                  <c:v>1101</c:v>
                </c:pt>
                <c:pt idx="2562">
                  <c:v>1102</c:v>
                </c:pt>
                <c:pt idx="2563">
                  <c:v>1103</c:v>
                </c:pt>
                <c:pt idx="2564">
                  <c:v>1104</c:v>
                </c:pt>
                <c:pt idx="2565">
                  <c:v>1105</c:v>
                </c:pt>
                <c:pt idx="2566">
                  <c:v>1106</c:v>
                </c:pt>
                <c:pt idx="2567">
                  <c:v>1107</c:v>
                </c:pt>
                <c:pt idx="2568">
                  <c:v>1108</c:v>
                </c:pt>
                <c:pt idx="2569">
                  <c:v>1109</c:v>
                </c:pt>
                <c:pt idx="2570">
                  <c:v>1110</c:v>
                </c:pt>
                <c:pt idx="2571">
                  <c:v>1111</c:v>
                </c:pt>
                <c:pt idx="2572">
                  <c:v>1112</c:v>
                </c:pt>
                <c:pt idx="2573">
                  <c:v>1113</c:v>
                </c:pt>
                <c:pt idx="2574">
                  <c:v>1114</c:v>
                </c:pt>
                <c:pt idx="2575">
                  <c:v>1115</c:v>
                </c:pt>
                <c:pt idx="2576">
                  <c:v>1116</c:v>
                </c:pt>
                <c:pt idx="2577">
                  <c:v>1117</c:v>
                </c:pt>
                <c:pt idx="2578">
                  <c:v>1118</c:v>
                </c:pt>
                <c:pt idx="2579">
                  <c:v>1119</c:v>
                </c:pt>
                <c:pt idx="2580">
                  <c:v>1120</c:v>
                </c:pt>
                <c:pt idx="2581">
                  <c:v>1121</c:v>
                </c:pt>
                <c:pt idx="2582">
                  <c:v>1122</c:v>
                </c:pt>
                <c:pt idx="2583">
                  <c:v>1123</c:v>
                </c:pt>
                <c:pt idx="2584">
                  <c:v>1124</c:v>
                </c:pt>
                <c:pt idx="2585">
                  <c:v>1125</c:v>
                </c:pt>
                <c:pt idx="2586">
                  <c:v>1126</c:v>
                </c:pt>
                <c:pt idx="2587">
                  <c:v>1127</c:v>
                </c:pt>
                <c:pt idx="2588">
                  <c:v>1128</c:v>
                </c:pt>
                <c:pt idx="2589">
                  <c:v>1129</c:v>
                </c:pt>
                <c:pt idx="2590">
                  <c:v>1130</c:v>
                </c:pt>
                <c:pt idx="2591">
                  <c:v>1131</c:v>
                </c:pt>
                <c:pt idx="2592">
                  <c:v>1132</c:v>
                </c:pt>
                <c:pt idx="2593">
                  <c:v>1133</c:v>
                </c:pt>
                <c:pt idx="2594">
                  <c:v>1134</c:v>
                </c:pt>
                <c:pt idx="2595">
                  <c:v>1135</c:v>
                </c:pt>
                <c:pt idx="2596">
                  <c:v>1136</c:v>
                </c:pt>
                <c:pt idx="2597">
                  <c:v>1137</c:v>
                </c:pt>
                <c:pt idx="2598">
                  <c:v>1138</c:v>
                </c:pt>
                <c:pt idx="2599">
                  <c:v>1139</c:v>
                </c:pt>
                <c:pt idx="2600">
                  <c:v>1140</c:v>
                </c:pt>
                <c:pt idx="2601">
                  <c:v>1141</c:v>
                </c:pt>
                <c:pt idx="2602">
                  <c:v>1142</c:v>
                </c:pt>
                <c:pt idx="2603">
                  <c:v>1143</c:v>
                </c:pt>
                <c:pt idx="2604">
                  <c:v>1144</c:v>
                </c:pt>
                <c:pt idx="2605">
                  <c:v>1145</c:v>
                </c:pt>
                <c:pt idx="2606">
                  <c:v>1146</c:v>
                </c:pt>
                <c:pt idx="2607">
                  <c:v>1147</c:v>
                </c:pt>
                <c:pt idx="2608">
                  <c:v>1148</c:v>
                </c:pt>
                <c:pt idx="2609">
                  <c:v>1149</c:v>
                </c:pt>
                <c:pt idx="2610">
                  <c:v>1150</c:v>
                </c:pt>
                <c:pt idx="2611">
                  <c:v>1151</c:v>
                </c:pt>
                <c:pt idx="2612">
                  <c:v>1152</c:v>
                </c:pt>
                <c:pt idx="2613">
                  <c:v>1153</c:v>
                </c:pt>
                <c:pt idx="2614">
                  <c:v>1154</c:v>
                </c:pt>
                <c:pt idx="2615">
                  <c:v>1155</c:v>
                </c:pt>
                <c:pt idx="2616">
                  <c:v>1156</c:v>
                </c:pt>
                <c:pt idx="2617">
                  <c:v>1157</c:v>
                </c:pt>
                <c:pt idx="2618">
                  <c:v>1158</c:v>
                </c:pt>
                <c:pt idx="2619">
                  <c:v>1159</c:v>
                </c:pt>
                <c:pt idx="2620">
                  <c:v>1160</c:v>
                </c:pt>
                <c:pt idx="2621">
                  <c:v>1161</c:v>
                </c:pt>
                <c:pt idx="2622">
                  <c:v>1162</c:v>
                </c:pt>
                <c:pt idx="2623">
                  <c:v>1163</c:v>
                </c:pt>
                <c:pt idx="2624">
                  <c:v>1164</c:v>
                </c:pt>
                <c:pt idx="2625">
                  <c:v>1165</c:v>
                </c:pt>
                <c:pt idx="2626">
                  <c:v>1166</c:v>
                </c:pt>
                <c:pt idx="2627">
                  <c:v>1167</c:v>
                </c:pt>
                <c:pt idx="2628">
                  <c:v>1168</c:v>
                </c:pt>
                <c:pt idx="2629">
                  <c:v>1169</c:v>
                </c:pt>
                <c:pt idx="2630">
                  <c:v>1170</c:v>
                </c:pt>
                <c:pt idx="2631">
                  <c:v>1171</c:v>
                </c:pt>
                <c:pt idx="2632">
                  <c:v>1172</c:v>
                </c:pt>
                <c:pt idx="2633">
                  <c:v>1173</c:v>
                </c:pt>
                <c:pt idx="2634">
                  <c:v>1174</c:v>
                </c:pt>
                <c:pt idx="2635">
                  <c:v>1175</c:v>
                </c:pt>
                <c:pt idx="2636">
                  <c:v>1176</c:v>
                </c:pt>
                <c:pt idx="2637">
                  <c:v>1177</c:v>
                </c:pt>
                <c:pt idx="2638">
                  <c:v>1178</c:v>
                </c:pt>
                <c:pt idx="2639">
                  <c:v>1179</c:v>
                </c:pt>
                <c:pt idx="2640">
                  <c:v>1180</c:v>
                </c:pt>
                <c:pt idx="2641">
                  <c:v>1181</c:v>
                </c:pt>
                <c:pt idx="2642">
                  <c:v>1182</c:v>
                </c:pt>
                <c:pt idx="2643">
                  <c:v>1183</c:v>
                </c:pt>
                <c:pt idx="2644">
                  <c:v>1184</c:v>
                </c:pt>
                <c:pt idx="2645">
                  <c:v>1185</c:v>
                </c:pt>
                <c:pt idx="2646">
                  <c:v>1186</c:v>
                </c:pt>
                <c:pt idx="2647">
                  <c:v>1187</c:v>
                </c:pt>
                <c:pt idx="2648">
                  <c:v>1188</c:v>
                </c:pt>
                <c:pt idx="2649">
                  <c:v>1189</c:v>
                </c:pt>
                <c:pt idx="2650">
                  <c:v>1190</c:v>
                </c:pt>
                <c:pt idx="2651">
                  <c:v>1191</c:v>
                </c:pt>
                <c:pt idx="2652">
                  <c:v>1192</c:v>
                </c:pt>
                <c:pt idx="2653">
                  <c:v>1193</c:v>
                </c:pt>
                <c:pt idx="2654">
                  <c:v>1194</c:v>
                </c:pt>
                <c:pt idx="2655">
                  <c:v>1195</c:v>
                </c:pt>
                <c:pt idx="2656">
                  <c:v>1196</c:v>
                </c:pt>
                <c:pt idx="2657">
                  <c:v>1197</c:v>
                </c:pt>
                <c:pt idx="2658">
                  <c:v>1198</c:v>
                </c:pt>
                <c:pt idx="2659">
                  <c:v>1199</c:v>
                </c:pt>
                <c:pt idx="2660">
                  <c:v>1200</c:v>
                </c:pt>
                <c:pt idx="2661">
                  <c:v>1201</c:v>
                </c:pt>
                <c:pt idx="2662">
                  <c:v>1202</c:v>
                </c:pt>
                <c:pt idx="2663">
                  <c:v>1203</c:v>
                </c:pt>
                <c:pt idx="2664">
                  <c:v>1204</c:v>
                </c:pt>
                <c:pt idx="2665">
                  <c:v>1205</c:v>
                </c:pt>
                <c:pt idx="2666">
                  <c:v>1206</c:v>
                </c:pt>
                <c:pt idx="2667">
                  <c:v>1207</c:v>
                </c:pt>
                <c:pt idx="2668">
                  <c:v>1208</c:v>
                </c:pt>
                <c:pt idx="2669">
                  <c:v>1209</c:v>
                </c:pt>
                <c:pt idx="2670">
                  <c:v>1210</c:v>
                </c:pt>
                <c:pt idx="2671">
                  <c:v>1211</c:v>
                </c:pt>
                <c:pt idx="2672">
                  <c:v>1212</c:v>
                </c:pt>
                <c:pt idx="2673">
                  <c:v>1213</c:v>
                </c:pt>
                <c:pt idx="2674">
                  <c:v>1214</c:v>
                </c:pt>
                <c:pt idx="2675">
                  <c:v>1215</c:v>
                </c:pt>
                <c:pt idx="2676">
                  <c:v>1216</c:v>
                </c:pt>
                <c:pt idx="2677">
                  <c:v>1217</c:v>
                </c:pt>
                <c:pt idx="2678">
                  <c:v>1218</c:v>
                </c:pt>
                <c:pt idx="2679">
                  <c:v>1219</c:v>
                </c:pt>
                <c:pt idx="2680">
                  <c:v>1220</c:v>
                </c:pt>
                <c:pt idx="2681">
                  <c:v>1221</c:v>
                </c:pt>
                <c:pt idx="2682">
                  <c:v>1222</c:v>
                </c:pt>
                <c:pt idx="2683">
                  <c:v>1223</c:v>
                </c:pt>
                <c:pt idx="2684">
                  <c:v>1224</c:v>
                </c:pt>
                <c:pt idx="2685">
                  <c:v>1225</c:v>
                </c:pt>
                <c:pt idx="2686">
                  <c:v>1226</c:v>
                </c:pt>
                <c:pt idx="2687">
                  <c:v>1227</c:v>
                </c:pt>
                <c:pt idx="2688">
                  <c:v>1228</c:v>
                </c:pt>
                <c:pt idx="2689">
                  <c:v>1229</c:v>
                </c:pt>
                <c:pt idx="2690">
                  <c:v>1230</c:v>
                </c:pt>
                <c:pt idx="2691">
                  <c:v>1231</c:v>
                </c:pt>
                <c:pt idx="2692">
                  <c:v>1232</c:v>
                </c:pt>
                <c:pt idx="2693">
                  <c:v>1233</c:v>
                </c:pt>
                <c:pt idx="2694">
                  <c:v>1234</c:v>
                </c:pt>
                <c:pt idx="2695">
                  <c:v>1235</c:v>
                </c:pt>
                <c:pt idx="2696">
                  <c:v>1236</c:v>
                </c:pt>
                <c:pt idx="2697">
                  <c:v>1237</c:v>
                </c:pt>
                <c:pt idx="2698">
                  <c:v>1238</c:v>
                </c:pt>
                <c:pt idx="2699">
                  <c:v>1239</c:v>
                </c:pt>
                <c:pt idx="2700">
                  <c:v>1240</c:v>
                </c:pt>
                <c:pt idx="2701">
                  <c:v>1241</c:v>
                </c:pt>
                <c:pt idx="2702">
                  <c:v>1242</c:v>
                </c:pt>
                <c:pt idx="2703">
                  <c:v>1243</c:v>
                </c:pt>
                <c:pt idx="2704">
                  <c:v>1244</c:v>
                </c:pt>
                <c:pt idx="2705">
                  <c:v>1245</c:v>
                </c:pt>
                <c:pt idx="2706">
                  <c:v>1246</c:v>
                </c:pt>
                <c:pt idx="2707">
                  <c:v>1247</c:v>
                </c:pt>
                <c:pt idx="2708">
                  <c:v>1248</c:v>
                </c:pt>
                <c:pt idx="2709">
                  <c:v>1249</c:v>
                </c:pt>
                <c:pt idx="2710">
                  <c:v>1250</c:v>
                </c:pt>
                <c:pt idx="2711">
                  <c:v>1251</c:v>
                </c:pt>
                <c:pt idx="2712">
                  <c:v>1252</c:v>
                </c:pt>
                <c:pt idx="2713">
                  <c:v>1253</c:v>
                </c:pt>
                <c:pt idx="2714">
                  <c:v>1254</c:v>
                </c:pt>
                <c:pt idx="2715">
                  <c:v>1255</c:v>
                </c:pt>
                <c:pt idx="2716">
                  <c:v>1256</c:v>
                </c:pt>
                <c:pt idx="2717">
                  <c:v>1257</c:v>
                </c:pt>
                <c:pt idx="2718">
                  <c:v>1258</c:v>
                </c:pt>
                <c:pt idx="2719">
                  <c:v>1259</c:v>
                </c:pt>
                <c:pt idx="2720">
                  <c:v>1260</c:v>
                </c:pt>
                <c:pt idx="2721">
                  <c:v>1261</c:v>
                </c:pt>
                <c:pt idx="2722">
                  <c:v>1262</c:v>
                </c:pt>
                <c:pt idx="2723">
                  <c:v>1263</c:v>
                </c:pt>
                <c:pt idx="2724">
                  <c:v>1264</c:v>
                </c:pt>
                <c:pt idx="2725">
                  <c:v>1265</c:v>
                </c:pt>
                <c:pt idx="2726">
                  <c:v>1266</c:v>
                </c:pt>
                <c:pt idx="2727">
                  <c:v>1267</c:v>
                </c:pt>
                <c:pt idx="2728">
                  <c:v>1269</c:v>
                </c:pt>
                <c:pt idx="2729">
                  <c:v>1270</c:v>
                </c:pt>
                <c:pt idx="2730">
                  <c:v>1271</c:v>
                </c:pt>
                <c:pt idx="2731">
                  <c:v>1272</c:v>
                </c:pt>
                <c:pt idx="2732">
                  <c:v>1273</c:v>
                </c:pt>
                <c:pt idx="2733">
                  <c:v>1274</c:v>
                </c:pt>
                <c:pt idx="2734">
                  <c:v>1275</c:v>
                </c:pt>
                <c:pt idx="2735">
                  <c:v>1276</c:v>
                </c:pt>
                <c:pt idx="2736">
                  <c:v>1278</c:v>
                </c:pt>
                <c:pt idx="2737">
                  <c:v>1279</c:v>
                </c:pt>
                <c:pt idx="2738">
                  <c:v>1280</c:v>
                </c:pt>
                <c:pt idx="2739">
                  <c:v>1282</c:v>
                </c:pt>
                <c:pt idx="2740">
                  <c:v>1283</c:v>
                </c:pt>
                <c:pt idx="2741">
                  <c:v>1284</c:v>
                </c:pt>
                <c:pt idx="2742">
                  <c:v>1285</c:v>
                </c:pt>
                <c:pt idx="2743">
                  <c:v>1286</c:v>
                </c:pt>
                <c:pt idx="2744">
                  <c:v>1287</c:v>
                </c:pt>
                <c:pt idx="2745">
                  <c:v>1289</c:v>
                </c:pt>
                <c:pt idx="2746">
                  <c:v>1290</c:v>
                </c:pt>
                <c:pt idx="2747">
                  <c:v>1291</c:v>
                </c:pt>
                <c:pt idx="2748">
                  <c:v>1293</c:v>
                </c:pt>
                <c:pt idx="2749">
                  <c:v>1294</c:v>
                </c:pt>
                <c:pt idx="2750">
                  <c:v>1295</c:v>
                </c:pt>
                <c:pt idx="2751">
                  <c:v>1296</c:v>
                </c:pt>
                <c:pt idx="2752">
                  <c:v>1297</c:v>
                </c:pt>
                <c:pt idx="2753">
                  <c:v>1299</c:v>
                </c:pt>
                <c:pt idx="2754">
                  <c:v>1300</c:v>
                </c:pt>
                <c:pt idx="2755">
                  <c:v>1301</c:v>
                </c:pt>
                <c:pt idx="2756">
                  <c:v>1302</c:v>
                </c:pt>
                <c:pt idx="2757">
                  <c:v>1304</c:v>
                </c:pt>
                <c:pt idx="2758">
                  <c:v>1305</c:v>
                </c:pt>
                <c:pt idx="2759">
                  <c:v>1307</c:v>
                </c:pt>
                <c:pt idx="2760">
                  <c:v>1308</c:v>
                </c:pt>
                <c:pt idx="2761">
                  <c:v>1309</c:v>
                </c:pt>
                <c:pt idx="2762">
                  <c:v>1310</c:v>
                </c:pt>
                <c:pt idx="2763">
                  <c:v>1311</c:v>
                </c:pt>
                <c:pt idx="2764">
                  <c:v>1312</c:v>
                </c:pt>
                <c:pt idx="2765">
                  <c:v>1313</c:v>
                </c:pt>
                <c:pt idx="2766">
                  <c:v>1314</c:v>
                </c:pt>
                <c:pt idx="2767">
                  <c:v>1315</c:v>
                </c:pt>
                <c:pt idx="2768">
                  <c:v>1317</c:v>
                </c:pt>
                <c:pt idx="2769">
                  <c:v>1318</c:v>
                </c:pt>
                <c:pt idx="2770">
                  <c:v>1319</c:v>
                </c:pt>
                <c:pt idx="2771">
                  <c:v>1320</c:v>
                </c:pt>
                <c:pt idx="2772">
                  <c:v>1321</c:v>
                </c:pt>
                <c:pt idx="2773">
                  <c:v>1322</c:v>
                </c:pt>
                <c:pt idx="2774">
                  <c:v>1323</c:v>
                </c:pt>
                <c:pt idx="2775">
                  <c:v>1324</c:v>
                </c:pt>
                <c:pt idx="2776">
                  <c:v>1327</c:v>
                </c:pt>
                <c:pt idx="2777">
                  <c:v>1328</c:v>
                </c:pt>
                <c:pt idx="2778">
                  <c:v>1330</c:v>
                </c:pt>
                <c:pt idx="2779">
                  <c:v>1331</c:v>
                </c:pt>
                <c:pt idx="2780">
                  <c:v>1332</c:v>
                </c:pt>
                <c:pt idx="2781">
                  <c:v>1333</c:v>
                </c:pt>
                <c:pt idx="2782">
                  <c:v>1334</c:v>
                </c:pt>
                <c:pt idx="2783">
                  <c:v>1335</c:v>
                </c:pt>
                <c:pt idx="2784">
                  <c:v>1337</c:v>
                </c:pt>
                <c:pt idx="2785">
                  <c:v>1338</c:v>
                </c:pt>
                <c:pt idx="2786">
                  <c:v>1339</c:v>
                </c:pt>
                <c:pt idx="2787">
                  <c:v>1340</c:v>
                </c:pt>
                <c:pt idx="2788">
                  <c:v>1341</c:v>
                </c:pt>
                <c:pt idx="2789">
                  <c:v>1343</c:v>
                </c:pt>
                <c:pt idx="2790">
                  <c:v>1344</c:v>
                </c:pt>
                <c:pt idx="2791">
                  <c:v>1345</c:v>
                </c:pt>
                <c:pt idx="2792">
                  <c:v>1346</c:v>
                </c:pt>
                <c:pt idx="2793">
                  <c:v>1347</c:v>
                </c:pt>
                <c:pt idx="2794">
                  <c:v>1348</c:v>
                </c:pt>
                <c:pt idx="2795">
                  <c:v>1349</c:v>
                </c:pt>
                <c:pt idx="2796">
                  <c:v>1350</c:v>
                </c:pt>
                <c:pt idx="2797">
                  <c:v>1351</c:v>
                </c:pt>
                <c:pt idx="2798">
                  <c:v>1353</c:v>
                </c:pt>
                <c:pt idx="2799">
                  <c:v>1354</c:v>
                </c:pt>
                <c:pt idx="2800">
                  <c:v>1355</c:v>
                </c:pt>
                <c:pt idx="2801">
                  <c:v>1356</c:v>
                </c:pt>
                <c:pt idx="2802">
                  <c:v>1358</c:v>
                </c:pt>
                <c:pt idx="2803">
                  <c:v>1359</c:v>
                </c:pt>
                <c:pt idx="2804">
                  <c:v>1360</c:v>
                </c:pt>
                <c:pt idx="2805">
                  <c:v>1362</c:v>
                </c:pt>
                <c:pt idx="2806">
                  <c:v>1363</c:v>
                </c:pt>
                <c:pt idx="2807">
                  <c:v>1364</c:v>
                </c:pt>
                <c:pt idx="2808">
                  <c:v>1365</c:v>
                </c:pt>
                <c:pt idx="2809">
                  <c:v>1366</c:v>
                </c:pt>
                <c:pt idx="2810">
                  <c:v>1368</c:v>
                </c:pt>
                <c:pt idx="2811">
                  <c:v>1371</c:v>
                </c:pt>
                <c:pt idx="2812">
                  <c:v>1372</c:v>
                </c:pt>
                <c:pt idx="2813">
                  <c:v>1373</c:v>
                </c:pt>
                <c:pt idx="2814">
                  <c:v>1375</c:v>
                </c:pt>
                <c:pt idx="2815">
                  <c:v>1376</c:v>
                </c:pt>
                <c:pt idx="2816">
                  <c:v>1379</c:v>
                </c:pt>
                <c:pt idx="2817">
                  <c:v>1380</c:v>
                </c:pt>
                <c:pt idx="2818">
                  <c:v>1382</c:v>
                </c:pt>
                <c:pt idx="2819">
                  <c:v>1383</c:v>
                </c:pt>
                <c:pt idx="2820">
                  <c:v>1384</c:v>
                </c:pt>
                <c:pt idx="2821">
                  <c:v>1388</c:v>
                </c:pt>
                <c:pt idx="2822">
                  <c:v>1389</c:v>
                </c:pt>
                <c:pt idx="2823">
                  <c:v>1390</c:v>
                </c:pt>
                <c:pt idx="2824">
                  <c:v>1394</c:v>
                </c:pt>
                <c:pt idx="2825">
                  <c:v>1397</c:v>
                </c:pt>
                <c:pt idx="2826">
                  <c:v>1399</c:v>
                </c:pt>
                <c:pt idx="2827">
                  <c:v>1401</c:v>
                </c:pt>
                <c:pt idx="2828">
                  <c:v>1402</c:v>
                </c:pt>
                <c:pt idx="2829">
                  <c:v>1403</c:v>
                </c:pt>
                <c:pt idx="2830">
                  <c:v>1404</c:v>
                </c:pt>
                <c:pt idx="2831">
                  <c:v>1406</c:v>
                </c:pt>
                <c:pt idx="2832">
                  <c:v>1409</c:v>
                </c:pt>
                <c:pt idx="2833">
                  <c:v>1410</c:v>
                </c:pt>
                <c:pt idx="2834">
                  <c:v>1413</c:v>
                </c:pt>
                <c:pt idx="2835">
                  <c:v>1416</c:v>
                </c:pt>
                <c:pt idx="2836">
                  <c:v>1417</c:v>
                </c:pt>
                <c:pt idx="2837">
                  <c:v>1418</c:v>
                </c:pt>
                <c:pt idx="2838">
                  <c:v>1420</c:v>
                </c:pt>
                <c:pt idx="2839">
                  <c:v>1421</c:v>
                </c:pt>
                <c:pt idx="2840">
                  <c:v>1422</c:v>
                </c:pt>
                <c:pt idx="2841">
                  <c:v>1423</c:v>
                </c:pt>
                <c:pt idx="2842">
                  <c:v>1424</c:v>
                </c:pt>
                <c:pt idx="2843">
                  <c:v>1425</c:v>
                </c:pt>
                <c:pt idx="2844">
                  <c:v>1426</c:v>
                </c:pt>
                <c:pt idx="2845">
                  <c:v>1427</c:v>
                </c:pt>
                <c:pt idx="2846">
                  <c:v>1430</c:v>
                </c:pt>
                <c:pt idx="2847">
                  <c:v>1434</c:v>
                </c:pt>
                <c:pt idx="2848">
                  <c:v>1435</c:v>
                </c:pt>
                <c:pt idx="2849">
                  <c:v>1436</c:v>
                </c:pt>
                <c:pt idx="2850">
                  <c:v>1437</c:v>
                </c:pt>
                <c:pt idx="2851">
                  <c:v>1441</c:v>
                </c:pt>
                <c:pt idx="2852">
                  <c:v>1442</c:v>
                </c:pt>
                <c:pt idx="2853">
                  <c:v>1444</c:v>
                </c:pt>
                <c:pt idx="2854">
                  <c:v>1446</c:v>
                </c:pt>
                <c:pt idx="2855">
                  <c:v>1449</c:v>
                </c:pt>
                <c:pt idx="2856">
                  <c:v>1450</c:v>
                </c:pt>
                <c:pt idx="2857">
                  <c:v>1455</c:v>
                </c:pt>
                <c:pt idx="2858">
                  <c:v>1463</c:v>
                </c:pt>
                <c:pt idx="2859">
                  <c:v>1464</c:v>
                </c:pt>
                <c:pt idx="2860">
                  <c:v>1465</c:v>
                </c:pt>
                <c:pt idx="2861">
                  <c:v>1467</c:v>
                </c:pt>
                <c:pt idx="2862">
                  <c:v>1468</c:v>
                </c:pt>
                <c:pt idx="2863">
                  <c:v>1471</c:v>
                </c:pt>
                <c:pt idx="2864">
                  <c:v>1472</c:v>
                </c:pt>
                <c:pt idx="2865">
                  <c:v>1473</c:v>
                </c:pt>
                <c:pt idx="2866">
                  <c:v>1488</c:v>
                </c:pt>
                <c:pt idx="2867">
                  <c:v>1490</c:v>
                </c:pt>
                <c:pt idx="2868">
                  <c:v>1493</c:v>
                </c:pt>
                <c:pt idx="2869">
                  <c:v>1496</c:v>
                </c:pt>
                <c:pt idx="2870">
                  <c:v>1498</c:v>
                </c:pt>
                <c:pt idx="2871">
                  <c:v>1499</c:v>
                </c:pt>
                <c:pt idx="2872">
                  <c:v>1504</c:v>
                </c:pt>
                <c:pt idx="2873">
                  <c:v>1506</c:v>
                </c:pt>
                <c:pt idx="2874">
                  <c:v>1509</c:v>
                </c:pt>
                <c:pt idx="2875">
                  <c:v>1511</c:v>
                </c:pt>
                <c:pt idx="2876">
                  <c:v>1535</c:v>
                </c:pt>
                <c:pt idx="2877">
                  <c:v>1536</c:v>
                </c:pt>
                <c:pt idx="2878">
                  <c:v>1542</c:v>
                </c:pt>
                <c:pt idx="2879">
                  <c:v>1545</c:v>
                </c:pt>
                <c:pt idx="2880">
                  <c:v>1555</c:v>
                </c:pt>
                <c:pt idx="2881">
                  <c:v>1563</c:v>
                </c:pt>
                <c:pt idx="2882">
                  <c:v>1577</c:v>
                </c:pt>
                <c:pt idx="2883">
                  <c:v>1584</c:v>
                </c:pt>
                <c:pt idx="2884">
                  <c:v>1596</c:v>
                </c:pt>
                <c:pt idx="2885">
                  <c:v>1600</c:v>
                </c:pt>
                <c:pt idx="2886">
                  <c:v>1601</c:v>
                </c:pt>
                <c:pt idx="2887">
                  <c:v>1602</c:v>
                </c:pt>
                <c:pt idx="2888">
                  <c:v>1619</c:v>
                </c:pt>
                <c:pt idx="2889">
                  <c:v>1620</c:v>
                </c:pt>
                <c:pt idx="2890">
                  <c:v>1627</c:v>
                </c:pt>
                <c:pt idx="2891">
                  <c:v>1628</c:v>
                </c:pt>
                <c:pt idx="2892">
                  <c:v>1632</c:v>
                </c:pt>
                <c:pt idx="2893">
                  <c:v>1634</c:v>
                </c:pt>
                <c:pt idx="2894">
                  <c:v>1635</c:v>
                </c:pt>
                <c:pt idx="2895">
                  <c:v>1663</c:v>
                </c:pt>
                <c:pt idx="2896">
                  <c:v>1707</c:v>
                </c:pt>
                <c:pt idx="2897">
                  <c:v>1714</c:v>
                </c:pt>
                <c:pt idx="2898">
                  <c:v>1727</c:v>
                </c:pt>
                <c:pt idx="2899">
                  <c:v>1731</c:v>
                </c:pt>
                <c:pt idx="2900">
                  <c:v>1736</c:v>
                </c:pt>
                <c:pt idx="2901">
                  <c:v>1744</c:v>
                </c:pt>
                <c:pt idx="2902">
                  <c:v>1750</c:v>
                </c:pt>
                <c:pt idx="2903">
                  <c:v>1752</c:v>
                </c:pt>
                <c:pt idx="2904">
                  <c:v>1754</c:v>
                </c:pt>
                <c:pt idx="2905">
                  <c:v>1817</c:v>
                </c:pt>
                <c:pt idx="2906">
                  <c:v>1820</c:v>
                </c:pt>
                <c:pt idx="2907">
                  <c:v>1831</c:v>
                </c:pt>
                <c:pt idx="2908">
                  <c:v>1879</c:v>
                </c:pt>
                <c:pt idx="2909">
                  <c:v>2006</c:v>
                </c:pt>
              </c:numCache>
            </c:numRef>
          </c:xVal>
          <c:yVal>
            <c:numRef>
              <c:f>Sheet1!$C$2:$C$2914</c:f>
              <c:numCache>
                <c:formatCode>General</c:formatCode>
                <c:ptCount val="2913"/>
                <c:pt idx="0">
                  <c:v>2.0133188229687346E-4</c:v>
                </c:pt>
                <c:pt idx="1">
                  <c:v>2.3221974110196089E-4</c:v>
                </c:pt>
                <c:pt idx="2">
                  <c:v>3.0051729247168021E-4</c:v>
                </c:pt>
                <c:pt idx="3">
                  <c:v>3.1035960582383258E-4</c:v>
                </c:pt>
                <c:pt idx="4">
                  <c:v>3.1323042838858904E-4</c:v>
                </c:pt>
                <c:pt idx="5">
                  <c:v>3.1612779762961761E-4</c:v>
                </c:pt>
                <c:pt idx="6">
                  <c:v>3.234889779482774E-4</c:v>
                </c:pt>
                <c:pt idx="7">
                  <c:v>3.2498164997914251E-4</c:v>
                </c:pt>
                <c:pt idx="8">
                  <c:v>3.3717358428807308E-4</c:v>
                </c:pt>
                <c:pt idx="9">
                  <c:v>3.4502465623583952E-4</c:v>
                </c:pt>
                <c:pt idx="10">
                  <c:v>3.5143688922070548E-4</c:v>
                </c:pt>
                <c:pt idx="11">
                  <c:v>3.7311089409562394E-4</c:v>
                </c:pt>
                <c:pt idx="12">
                  <c:v>3.8532982135907413E-4</c:v>
                </c:pt>
                <c:pt idx="13">
                  <c:v>4.0909323396318766E-4</c:v>
                </c:pt>
                <c:pt idx="14">
                  <c:v>4.8060825309045267E-4</c:v>
                </c:pt>
                <c:pt idx="15">
                  <c:v>4.9634583991744899E-4</c:v>
                </c:pt>
                <c:pt idx="16">
                  <c:v>5.4420633105146997E-4</c:v>
                </c:pt>
                <c:pt idx="17">
                  <c:v>5.6202527515232894E-4</c:v>
                </c:pt>
                <c:pt idx="18">
                  <c:v>5.698393702309023E-4</c:v>
                </c:pt>
                <c:pt idx="19">
                  <c:v>5.7246812351681247E-4</c:v>
                </c:pt>
                <c:pt idx="20">
                  <c:v>5.9121189590019042E-4</c:v>
                </c:pt>
                <c:pt idx="21">
                  <c:v>5.9943154256545208E-4</c:v>
                </c:pt>
                <c:pt idx="22">
                  <c:v>6.3932583647383133E-4</c:v>
                </c:pt>
                <c:pt idx="23">
                  <c:v>6.4227493510508632E-4</c:v>
                </c:pt>
                <c:pt idx="24">
                  <c:v>6.5722560778355081E-4</c:v>
                </c:pt>
                <c:pt idx="25">
                  <c:v>6.7874262815852636E-4</c:v>
                </c:pt>
                <c:pt idx="26">
                  <c:v>6.9454159429118724E-4</c:v>
                </c:pt>
                <c:pt idx="27">
                  <c:v>6.9774521575773887E-4</c:v>
                </c:pt>
                <c:pt idx="28">
                  <c:v>7.1070804848498339E-4</c:v>
                </c:pt>
                <c:pt idx="29">
                  <c:v>7.3397475352177566E-4</c:v>
                </c:pt>
                <c:pt idx="30">
                  <c:v>7.4761016139012989E-4</c:v>
                </c:pt>
                <c:pt idx="31">
                  <c:v>7.9005394922720409E-4</c:v>
                </c:pt>
                <c:pt idx="32">
                  <c:v>8.1217035931172618E-4</c:v>
                </c:pt>
                <c:pt idx="33">
                  <c:v>8.2345947067704814E-4</c:v>
                </c:pt>
                <c:pt idx="34">
                  <c:v>8.3490536878515339E-4</c:v>
                </c:pt>
                <c:pt idx="35">
                  <c:v>8.5041421831294223E-4</c:v>
                </c:pt>
                <c:pt idx="36">
                  <c:v>9.0699713955408573E-4</c:v>
                </c:pt>
                <c:pt idx="37">
                  <c:v>9.1538179856187195E-4</c:v>
                </c:pt>
                <c:pt idx="38">
                  <c:v>9.4100327532751625E-4</c:v>
                </c:pt>
                <c:pt idx="39">
                  <c:v>9.4970200238027379E-4</c:v>
                </c:pt>
                <c:pt idx="40">
                  <c:v>9.5408144531469936E-4</c:v>
                </c:pt>
                <c:pt idx="41">
                  <c:v>9.6734120119668131E-4</c:v>
                </c:pt>
                <c:pt idx="42">
                  <c:v>9.7628316071296896E-4</c:v>
                </c:pt>
                <c:pt idx="43">
                  <c:v>9.8078505930546556E-4</c:v>
                </c:pt>
                <c:pt idx="44">
                  <c:v>9.8985116873409563E-4</c:v>
                </c:pt>
                <c:pt idx="45">
                  <c:v>9.9441557070534801E-4</c:v>
                </c:pt>
                <c:pt idx="46">
                  <c:v>1.003607550286134E-3</c:v>
                </c:pt>
                <c:pt idx="47">
                  <c:v>1.0082353216684455E-3</c:v>
                </c:pt>
                <c:pt idx="48">
                  <c:v>1.0175549153804378E-3</c:v>
                </c:pt>
                <c:pt idx="49">
                  <c:v>1.0364530663100533E-3</c:v>
                </c:pt>
                <c:pt idx="50">
                  <c:v>1.0508564129419441E-3</c:v>
                </c:pt>
                <c:pt idx="51">
                  <c:v>1.0557018250404462E-3</c:v>
                </c:pt>
                <c:pt idx="52">
                  <c:v>1.0654597060404673E-3</c:v>
                </c:pt>
                <c:pt idx="53">
                  <c:v>1.0703723805680337E-3</c:v>
                </c:pt>
                <c:pt idx="54">
                  <c:v>1.1054005214697856E-3</c:v>
                </c:pt>
                <c:pt idx="55">
                  <c:v>1.1156172558688905E-3</c:v>
                </c:pt>
                <c:pt idx="56">
                  <c:v>1.1207609398445958E-3</c:v>
                </c:pt>
                <c:pt idx="57">
                  <c:v>1.1363345606214431E-3</c:v>
                </c:pt>
                <c:pt idx="58">
                  <c:v>1.1468368765837665E-3</c:v>
                </c:pt>
                <c:pt idx="59">
                  <c:v>1.1627724157750065E-3</c:v>
                </c:pt>
                <c:pt idx="60">
                  <c:v>1.1735187905817979E-3</c:v>
                </c:pt>
                <c:pt idx="61">
                  <c:v>1.2063567806969784E-3</c:v>
                </c:pt>
                <c:pt idx="62">
                  <c:v>1.2287570693630284E-3</c:v>
                </c:pt>
                <c:pt idx="63">
                  <c:v>1.2344217530470436E-3</c:v>
                </c:pt>
                <c:pt idx="64">
                  <c:v>1.2515727775604176E-3</c:v>
                </c:pt>
                <c:pt idx="65">
                  <c:v>1.2631388099063599E-3</c:v>
                </c:pt>
                <c:pt idx="66">
                  <c:v>1.2806883168604605E-3</c:v>
                </c:pt>
                <c:pt idx="67">
                  <c:v>1.3044670312710672E-3</c:v>
                </c:pt>
                <c:pt idx="68">
                  <c:v>1.3104802869190405E-3</c:v>
                </c:pt>
                <c:pt idx="69">
                  <c:v>1.3165212255793347E-3</c:v>
                </c:pt>
                <c:pt idx="70">
                  <c:v>1.3409643611795364E-3</c:v>
                </c:pt>
                <c:pt idx="71">
                  <c:v>1.3471456331351076E-3</c:v>
                </c:pt>
                <c:pt idx="72">
                  <c:v>1.3658606985466977E-3</c:v>
                </c:pt>
                <c:pt idx="73">
                  <c:v>1.3912186172642771E-3</c:v>
                </c:pt>
                <c:pt idx="74">
                  <c:v>1.4105450967152589E-3</c:v>
                </c:pt>
                <c:pt idx="75">
                  <c:v>1.4170466509804331E-3</c:v>
                </c:pt>
                <c:pt idx="76">
                  <c:v>1.4235781298102433E-3</c:v>
                </c:pt>
                <c:pt idx="77">
                  <c:v>1.4433534902079355E-3</c:v>
                </c:pt>
                <c:pt idx="78">
                  <c:v>1.4566892212665751E-3</c:v>
                </c:pt>
                <c:pt idx="79">
                  <c:v>1.4634031536236694E-3</c:v>
                </c:pt>
                <c:pt idx="80">
                  <c:v>1.470147985173721E-3</c:v>
                </c:pt>
                <c:pt idx="81">
                  <c:v>1.4769238577015944E-3</c:v>
                </c:pt>
                <c:pt idx="82">
                  <c:v>1.4837309136388678E-3</c:v>
                </c:pt>
                <c:pt idx="83">
                  <c:v>1.4905692960667371E-3</c:v>
                </c:pt>
                <c:pt idx="84">
                  <c:v>1.5112738429118005E-3</c:v>
                </c:pt>
                <c:pt idx="85">
                  <c:v>1.5182389752091963E-3</c:v>
                </c:pt>
                <c:pt idx="86">
                  <c:v>1.5607080255699327E-3</c:v>
                </c:pt>
                <c:pt idx="87">
                  <c:v>1.5679006315009521E-3</c:v>
                </c:pt>
                <c:pt idx="88">
                  <c:v>1.5751263326457658E-3</c:v>
                </c:pt>
                <c:pt idx="89">
                  <c:v>1.5896776284579409E-3</c:v>
                </c:pt>
                <c:pt idx="90">
                  <c:v>1.5970035287984539E-3</c:v>
                </c:pt>
                <c:pt idx="91">
                  <c:v>1.6043631357052976E-3</c:v>
                </c:pt>
                <c:pt idx="92">
                  <c:v>1.6416722038641092E-3</c:v>
                </c:pt>
                <c:pt idx="93">
                  <c:v>1.6721421334722744E-3</c:v>
                </c:pt>
                <c:pt idx="94">
                  <c:v>1.6798474253812219E-3</c:v>
                </c:pt>
                <c:pt idx="95">
                  <c:v>1.6875881635358668E-3</c:v>
                </c:pt>
                <c:pt idx="96">
                  <c:v>1.6953645104432734E-3</c:v>
                </c:pt>
                <c:pt idx="97">
                  <c:v>1.703176629350426E-3</c:v>
                </c:pt>
                <c:pt idx="98">
                  <c:v>1.7268292617086253E-3</c:v>
                </c:pt>
                <c:pt idx="99">
                  <c:v>1.7347861159992886E-3</c:v>
                </c:pt>
                <c:pt idx="100">
                  <c:v>1.7427795697399933E-3</c:v>
                </c:pt>
                <c:pt idx="101">
                  <c:v>1.7588769473617912E-3</c:v>
                </c:pt>
                <c:pt idx="102">
                  <c:v>1.7669812090501029E-3</c:v>
                </c:pt>
                <c:pt idx="103">
                  <c:v>1.7751227458097569E-3</c:v>
                </c:pt>
                <c:pt idx="104">
                  <c:v>1.783301728471922E-3</c:v>
                </c:pt>
                <c:pt idx="105">
                  <c:v>1.79151832864502E-3</c:v>
                </c:pt>
                <c:pt idx="106">
                  <c:v>1.7997727187182024E-3</c:v>
                </c:pt>
                <c:pt idx="107">
                  <c:v>1.8080650718648669E-3</c:v>
                </c:pt>
                <c:pt idx="108">
                  <c:v>1.81639556204615E-3</c:v>
                </c:pt>
                <c:pt idx="109">
                  <c:v>1.8247643640144768E-3</c:v>
                </c:pt>
                <c:pt idx="110">
                  <c:v>1.8416176062996171E-3</c:v>
                </c:pt>
                <c:pt idx="111">
                  <c:v>1.8501024001096502E-3</c:v>
                </c:pt>
                <c:pt idx="112">
                  <c:v>1.8671892228339601E-3</c:v>
                </c:pt>
                <c:pt idx="113">
                  <c:v>1.8844335548467944E-3</c:v>
                </c:pt>
                <c:pt idx="114">
                  <c:v>1.9105985504255965E-3</c:v>
                </c:pt>
                <c:pt idx="115">
                  <c:v>1.9194005455964534E-3</c:v>
                </c:pt>
                <c:pt idx="116">
                  <c:v>1.937126136830685E-3</c:v>
                </c:pt>
                <c:pt idx="117">
                  <c:v>1.9460501044709828E-3</c:v>
                </c:pt>
                <c:pt idx="118">
                  <c:v>1.955015102585664E-3</c:v>
                </c:pt>
                <c:pt idx="119">
                  <c:v>1.9640213190803336E-3</c:v>
                </c:pt>
                <c:pt idx="120">
                  <c:v>1.9730689427142653E-3</c:v>
                </c:pt>
                <c:pt idx="121">
                  <c:v>1.982158163104231E-3</c:v>
                </c:pt>
                <c:pt idx="122">
                  <c:v>1.991289170728318E-3</c:v>
                </c:pt>
                <c:pt idx="123">
                  <c:v>2.0004621569297922E-3</c:v>
                </c:pt>
                <c:pt idx="124">
                  <c:v>2.0096773139209457E-3</c:v>
                </c:pt>
                <c:pt idx="125">
                  <c:v>2.0189348347869956E-3</c:v>
                </c:pt>
                <c:pt idx="126">
                  <c:v>2.0282349134899636E-3</c:v>
                </c:pt>
                <c:pt idx="127">
                  <c:v>2.0375777448726085E-3</c:v>
                </c:pt>
                <c:pt idx="128">
                  <c:v>2.0563924494751873E-3</c:v>
                </c:pt>
                <c:pt idx="129">
                  <c:v>2.0658647168197426E-3</c:v>
                </c:pt>
                <c:pt idx="130">
                  <c:v>2.0753805251011621E-3</c:v>
                </c:pt>
                <c:pt idx="131">
                  <c:v>2.0849400736251498E-3</c:v>
                </c:pt>
                <c:pt idx="132">
                  <c:v>2.1041911931505685E-3</c:v>
                </c:pt>
                <c:pt idx="133">
                  <c:v>2.1138831673024315E-3</c:v>
                </c:pt>
                <c:pt idx="134">
                  <c:v>2.1432271854685981E-3</c:v>
                </c:pt>
                <c:pt idx="135">
                  <c:v>2.1530985727449712E-3</c:v>
                </c:pt>
                <c:pt idx="136">
                  <c:v>2.1630153276152343E-3</c:v>
                </c:pt>
                <c:pt idx="137">
                  <c:v>2.1729776576729395E-3</c:v>
                </c:pt>
                <c:pt idx="138">
                  <c:v>2.1829857714531367E-3</c:v>
                </c:pt>
                <c:pt idx="139">
                  <c:v>2.1930398784365908E-3</c:v>
                </c:pt>
                <c:pt idx="140">
                  <c:v>2.2031401890539623E-3</c:v>
                </c:pt>
                <c:pt idx="141">
                  <c:v>2.2132869146900616E-3</c:v>
                </c:pt>
                <c:pt idx="142">
                  <c:v>2.2234802676880765E-3</c:v>
                </c:pt>
                <c:pt idx="143">
                  <c:v>2.2337204613538534E-3</c:v>
                </c:pt>
                <c:pt idx="144">
                  <c:v>2.2647242339459768E-3</c:v>
                </c:pt>
                <c:pt idx="145">
                  <c:v>2.2751539427444999E-3</c:v>
                </c:pt>
                <c:pt idx="146">
                  <c:v>2.2856315733302845E-3</c:v>
                </c:pt>
                <c:pt idx="147">
                  <c:v>2.2961573448756619E-3</c:v>
                </c:pt>
                <c:pt idx="148">
                  <c:v>2.3067314775459678E-3</c:v>
                </c:pt>
                <c:pt idx="149">
                  <c:v>2.3173541925039839E-3</c:v>
                </c:pt>
                <c:pt idx="150">
                  <c:v>2.3387462589479729E-3</c:v>
                </c:pt>
                <c:pt idx="151">
                  <c:v>2.3603353336272568E-3</c:v>
                </c:pt>
                <c:pt idx="152">
                  <c:v>2.3821232222059042E-3</c:v>
                </c:pt>
                <c:pt idx="153">
                  <c:v>2.3930922904548935E-3</c:v>
                </c:pt>
                <c:pt idx="154">
                  <c:v>2.4041117467369639E-3</c:v>
                </c:pt>
                <c:pt idx="155">
                  <c:v>2.4151818213934339E-3</c:v>
                </c:pt>
                <c:pt idx="156">
                  <c:v>2.4263027458082337E-3</c:v>
                </c:pt>
                <c:pt idx="157">
                  <c:v>2.4374747524125058E-3</c:v>
                </c:pt>
                <c:pt idx="158">
                  <c:v>2.44869807468927E-3</c:v>
                </c:pt>
                <c:pt idx="159">
                  <c:v>2.4712996054796483E-3</c:v>
                </c:pt>
                <c:pt idx="160">
                  <c:v>2.4826782862606878E-3</c:v>
                </c:pt>
                <c:pt idx="161">
                  <c:v>2.4941092272584902E-3</c:v>
                </c:pt>
                <c:pt idx="162">
                  <c:v>2.5055926672857328E-3</c:v>
                </c:pt>
                <c:pt idx="163">
                  <c:v>2.5171288462352429E-3</c:v>
                </c:pt>
                <c:pt idx="164">
                  <c:v>2.5287180050847595E-3</c:v>
                </c:pt>
                <c:pt idx="165">
                  <c:v>2.5403603859017574E-3</c:v>
                </c:pt>
                <c:pt idx="166">
                  <c:v>2.5520562318482472E-3</c:v>
                </c:pt>
                <c:pt idx="167">
                  <c:v>2.5638057871856432E-3</c:v>
                </c:pt>
                <c:pt idx="168">
                  <c:v>2.5756092972796015E-3</c:v>
                </c:pt>
                <c:pt idx="169">
                  <c:v>2.5874670086049279E-3</c:v>
                </c:pt>
                <c:pt idx="170">
                  <c:v>2.5993791687504626E-3</c:v>
                </c:pt>
                <c:pt idx="171">
                  <c:v>2.6113460264240223E-3</c:v>
                </c:pt>
                <c:pt idx="172">
                  <c:v>2.6233678314573289E-3</c:v>
                </c:pt>
                <c:pt idx="173">
                  <c:v>2.6354448348110014E-3</c:v>
                </c:pt>
                <c:pt idx="174">
                  <c:v>2.6475772885795135E-3</c:v>
                </c:pt>
                <c:pt idx="175">
                  <c:v>2.6597654459962284E-3</c:v>
                </c:pt>
                <c:pt idx="176">
                  <c:v>2.67200956143841E-3</c:v>
                </c:pt>
                <c:pt idx="177">
                  <c:v>2.684309890432291E-3</c:v>
                </c:pt>
                <c:pt idx="178">
                  <c:v>2.6966666896581274E-3</c:v>
                </c:pt>
                <c:pt idx="179">
                  <c:v>2.7090802169553096E-3</c:v>
                </c:pt>
                <c:pt idx="180">
                  <c:v>2.7215507313274618E-3</c:v>
                </c:pt>
                <c:pt idx="181">
                  <c:v>2.7340784929475938E-3</c:v>
                </c:pt>
                <c:pt idx="182">
                  <c:v>2.7466637631632421E-3</c:v>
                </c:pt>
                <c:pt idx="183">
                  <c:v>2.7593068045016688E-3</c:v>
                </c:pt>
                <c:pt idx="184">
                  <c:v>2.7720078806750419E-3</c:v>
                </c:pt>
                <c:pt idx="185">
                  <c:v>2.7847672565856807E-3</c:v>
                </c:pt>
                <c:pt idx="186">
                  <c:v>2.7975851983312763E-3</c:v>
                </c:pt>
                <c:pt idx="187">
                  <c:v>2.8104619732101889E-3</c:v>
                </c:pt>
                <c:pt idx="188">
                  <c:v>2.8233978497267036E-3</c:v>
                </c:pt>
                <c:pt idx="189">
                  <c:v>2.836393097596368E-3</c:v>
                </c:pt>
                <c:pt idx="190">
                  <c:v>2.8494479877513076E-3</c:v>
                </c:pt>
                <c:pt idx="191">
                  <c:v>2.8625627923455979E-3</c:v>
                </c:pt>
                <c:pt idx="192">
                  <c:v>2.8757377847606234E-3</c:v>
                </c:pt>
                <c:pt idx="193">
                  <c:v>2.8889732396104968E-3</c:v>
                </c:pt>
                <c:pt idx="194">
                  <c:v>2.9022694327474645E-3</c:v>
                </c:pt>
                <c:pt idx="195">
                  <c:v>2.9156266412673705E-3</c:v>
                </c:pt>
                <c:pt idx="196">
                  <c:v>2.9290451435151029E-3</c:v>
                </c:pt>
                <c:pt idx="197">
                  <c:v>2.942525219090109E-3</c:v>
                </c:pt>
                <c:pt idx="198">
                  <c:v>2.9560671488518841E-3</c:v>
                </c:pt>
                <c:pt idx="199">
                  <c:v>2.9696712149255319E-3</c:v>
                </c:pt>
                <c:pt idx="200">
                  <c:v>2.9833377007072999E-3</c:v>
                </c:pt>
                <c:pt idx="201">
                  <c:v>2.9970668908701932E-3</c:v>
                </c:pt>
                <c:pt idx="202">
                  <c:v>3.0108590713695434E-3</c:v>
                </c:pt>
                <c:pt idx="203">
                  <c:v>3.0247145294486706E-3</c:v>
                </c:pt>
                <c:pt idx="204">
                  <c:v>3.0386335536445128E-3</c:v>
                </c:pt>
                <c:pt idx="205">
                  <c:v>3.0526164337933183E-3</c:v>
                </c:pt>
                <c:pt idx="206">
                  <c:v>3.0666634610363305E-3</c:v>
                </c:pt>
                <c:pt idx="207">
                  <c:v>3.0807749278255292E-3</c:v>
                </c:pt>
                <c:pt idx="208">
                  <c:v>3.0949511279293527E-3</c:v>
                </c:pt>
                <c:pt idx="209">
                  <c:v>3.109192356438497E-3</c:v>
                </c:pt>
                <c:pt idx="210">
                  <c:v>3.1234989097716822E-3</c:v>
                </c:pt>
                <c:pt idx="211">
                  <c:v>3.1378710856814953E-3</c:v>
                </c:pt>
                <c:pt idx="212">
                  <c:v>3.1523091832602089E-3</c:v>
                </c:pt>
                <c:pt idx="213">
                  <c:v>3.1668135029456748E-3</c:v>
                </c:pt>
                <c:pt idx="214">
                  <c:v>3.1813843465271921E-3</c:v>
                </c:pt>
                <c:pt idx="215">
                  <c:v>3.196022017151425E-3</c:v>
                </c:pt>
                <c:pt idx="216">
                  <c:v>3.210726819328357E-3</c:v>
                </c:pt>
                <c:pt idx="217">
                  <c:v>3.2254990589372337E-3</c:v>
                </c:pt>
                <c:pt idx="218">
                  <c:v>3.2403390432325717E-3</c:v>
                </c:pt>
                <c:pt idx="219">
                  <c:v>3.2552470808501531E-3</c:v>
                </c:pt>
                <c:pt idx="220">
                  <c:v>3.2702234818130799E-3</c:v>
                </c:pt>
                <c:pt idx="221">
                  <c:v>3.285268557537818E-3</c:v>
                </c:pt>
                <c:pt idx="222">
                  <c:v>3.3003826208403051E-3</c:v>
                </c:pt>
                <c:pt idx="223">
                  <c:v>3.3155659859420397E-3</c:v>
                </c:pt>
                <c:pt idx="224">
                  <c:v>3.3308189684762451E-3</c:v>
                </c:pt>
                <c:pt idx="225">
                  <c:v>3.3461418854940001E-3</c:v>
                </c:pt>
                <c:pt idx="226">
                  <c:v>3.3615350554704652E-3</c:v>
                </c:pt>
                <c:pt idx="227">
                  <c:v>3.3769987983110531E-3</c:v>
                </c:pt>
                <c:pt idx="228">
                  <c:v>3.392533435357704E-3</c:v>
                </c:pt>
                <c:pt idx="229">
                  <c:v>3.4081392893951204E-3</c:v>
                </c:pt>
                <c:pt idx="230">
                  <c:v>3.4238166846570829E-3</c:v>
                </c:pt>
                <c:pt idx="231">
                  <c:v>3.439565946832738E-3</c:v>
                </c:pt>
                <c:pt idx="232">
                  <c:v>3.4553874030729659E-3</c:v>
                </c:pt>
                <c:pt idx="233">
                  <c:v>3.4712813819967226E-3</c:v>
                </c:pt>
                <c:pt idx="234">
                  <c:v>3.4872482136974548E-3</c:v>
                </c:pt>
                <c:pt idx="235">
                  <c:v>3.5032882297494953E-3</c:v>
                </c:pt>
                <c:pt idx="236">
                  <c:v>3.5194017632145338E-3</c:v>
                </c:pt>
                <c:pt idx="237">
                  <c:v>3.53558914864806E-3</c:v>
                </c:pt>
                <c:pt idx="238">
                  <c:v>3.5518507221058873E-3</c:v>
                </c:pt>
                <c:pt idx="239">
                  <c:v>3.5681868211506493E-3</c:v>
                </c:pt>
                <c:pt idx="240">
                  <c:v>3.584597784858385E-3</c:v>
                </c:pt>
                <c:pt idx="241">
                  <c:v>3.601083953825072E-3</c:v>
                </c:pt>
                <c:pt idx="242">
                  <c:v>3.6176456701732711E-3</c:v>
                </c:pt>
                <c:pt idx="243">
                  <c:v>3.6342832775587211E-3</c:v>
                </c:pt>
                <c:pt idx="244">
                  <c:v>3.6509971211770276E-3</c:v>
                </c:pt>
                <c:pt idx="245">
                  <c:v>3.6677875477703161E-3</c:v>
                </c:pt>
                <c:pt idx="246">
                  <c:v>3.68465490563397E-3</c:v>
                </c:pt>
                <c:pt idx="247">
                  <c:v>3.7015995446233463E-3</c:v>
                </c:pt>
                <c:pt idx="248">
                  <c:v>3.7186218161605594E-3</c:v>
                </c:pt>
                <c:pt idx="249">
                  <c:v>3.7357220732412528E-3</c:v>
                </c:pt>
                <c:pt idx="250">
                  <c:v>3.7529006704414428E-3</c:v>
                </c:pt>
                <c:pt idx="251">
                  <c:v>3.7701579639243385E-3</c:v>
                </c:pt>
                <c:pt idx="252">
                  <c:v>3.7874943114472454E-3</c:v>
                </c:pt>
                <c:pt idx="253">
                  <c:v>3.8049100723684341E-3</c:v>
                </c:pt>
                <c:pt idx="254">
                  <c:v>3.8576374532650411E-3</c:v>
                </c:pt>
                <c:pt idx="255">
                  <c:v>3.8753744936250076E-3</c:v>
                </c:pt>
                <c:pt idx="256">
                  <c:v>3.8931927684329498E-3</c:v>
                </c:pt>
                <c:pt idx="257">
                  <c:v>3.9110926467995511E-3</c:v>
                </c:pt>
                <c:pt idx="258">
                  <c:v>3.9290744994855843E-3</c:v>
                </c:pt>
                <c:pt idx="259">
                  <c:v>3.9471386989090194E-3</c:v>
                </c:pt>
                <c:pt idx="260">
                  <c:v>3.9652856191521998E-3</c:v>
                </c:pt>
                <c:pt idx="261">
                  <c:v>3.9835156359690023E-3</c:v>
                </c:pt>
                <c:pt idx="262">
                  <c:v>4.0018291267920718E-3</c:v>
                </c:pt>
                <c:pt idx="263">
                  <c:v>4.0202264707400416E-3</c:v>
                </c:pt>
                <c:pt idx="264">
                  <c:v>4.038708048624824E-3</c:v>
                </c:pt>
                <c:pt idx="265">
                  <c:v>4.0572742429588826E-3</c:v>
                </c:pt>
                <c:pt idx="266">
                  <c:v>4.075925437962597E-3</c:v>
                </c:pt>
                <c:pt idx="267">
                  <c:v>4.0946620195715768E-3</c:v>
                </c:pt>
                <c:pt idx="268">
                  <c:v>4.1134843754440844E-3</c:v>
                </c:pt>
                <c:pt idx="269">
                  <c:v>4.1323928949684192E-3</c:v>
                </c:pt>
                <c:pt idx="270">
                  <c:v>4.1513879692703934E-3</c:v>
                </c:pt>
                <c:pt idx="271">
                  <c:v>4.1704699912207743E-3</c:v>
                </c:pt>
                <c:pt idx="272">
                  <c:v>4.1896393554428178E-3</c:v>
                </c:pt>
                <c:pt idx="273">
                  <c:v>4.2088964583197729E-3</c:v>
                </c:pt>
                <c:pt idx="274">
                  <c:v>4.2282416980024742E-3</c:v>
                </c:pt>
                <c:pt idx="275">
                  <c:v>4.2476754744169036E-3</c:v>
                </c:pt>
                <c:pt idx="276">
                  <c:v>4.2671981892718445E-3</c:v>
                </c:pt>
                <c:pt idx="277">
                  <c:v>4.2868102460665043E-3</c:v>
                </c:pt>
                <c:pt idx="278">
                  <c:v>4.3065120500982235E-3</c:v>
                </c:pt>
                <c:pt idx="279">
                  <c:v>4.3263040084701634E-3</c:v>
                </c:pt>
                <c:pt idx="280">
                  <c:v>4.3461865300990854E-3</c:v>
                </c:pt>
                <c:pt idx="281">
                  <c:v>4.3661600257230773E-3</c:v>
                </c:pt>
                <c:pt idx="282">
                  <c:v>4.3862249079094006E-3</c:v>
                </c:pt>
                <c:pt idx="283">
                  <c:v>4.4063815910622929E-3</c:v>
                </c:pt>
                <c:pt idx="284">
                  <c:v>4.426630491430863E-3</c:v>
                </c:pt>
                <c:pt idx="285">
                  <c:v>4.4469720271169532E-3</c:v>
                </c:pt>
                <c:pt idx="286">
                  <c:v>4.4674066180831048E-3</c:v>
                </c:pt>
                <c:pt idx="287">
                  <c:v>4.4879346861604772E-3</c:v>
                </c:pt>
                <c:pt idx="288">
                  <c:v>4.5085566550568711E-3</c:v>
                </c:pt>
                <c:pt idx="289">
                  <c:v>4.5292729503647192E-3</c:v>
                </c:pt>
                <c:pt idx="290">
                  <c:v>4.5500839995691643E-3</c:v>
                </c:pt>
                <c:pt idx="291">
                  <c:v>4.5709902320561118E-3</c:v>
                </c:pt>
                <c:pt idx="292">
                  <c:v>4.5919920791203887E-3</c:v>
                </c:pt>
                <c:pt idx="293">
                  <c:v>4.6130899739738303E-3</c:v>
                </c:pt>
                <c:pt idx="294">
                  <c:v>4.6342843517535124E-3</c:v>
                </c:pt>
                <c:pt idx="295">
                  <c:v>4.6555756495299172E-3</c:v>
                </c:pt>
                <c:pt idx="296">
                  <c:v>4.6769643063152089E-3</c:v>
                </c:pt>
                <c:pt idx="297">
                  <c:v>4.6984507630714748E-3</c:v>
                </c:pt>
                <c:pt idx="298">
                  <c:v>4.7200354627190593E-3</c:v>
                </c:pt>
                <c:pt idx="299">
                  <c:v>4.741718850144871E-3</c:v>
                </c:pt>
                <c:pt idx="300">
                  <c:v>4.7635013722107803E-3</c:v>
                </c:pt>
                <c:pt idx="301">
                  <c:v>4.7853834777619913E-3</c:v>
                </c:pt>
                <c:pt idx="302">
                  <c:v>4.8073656176355044E-3</c:v>
                </c:pt>
                <c:pt idx="303">
                  <c:v>4.8294482446685511E-3</c:v>
                </c:pt>
                <c:pt idx="304">
                  <c:v>4.851631813707122E-3</c:v>
                </c:pt>
                <c:pt idx="305">
                  <c:v>4.8739167816144648E-3</c:v>
                </c:pt>
                <c:pt idx="306">
                  <c:v>4.896303607279693E-3</c:v>
                </c:pt>
                <c:pt idx="307">
                  <c:v>4.9187927516263271E-3</c:v>
                </c:pt>
                <c:pt idx="308">
                  <c:v>4.9413846776209698E-3</c:v>
                </c:pt>
                <c:pt idx="309">
                  <c:v>4.964079850281934E-3</c:v>
                </c:pt>
                <c:pt idx="310">
                  <c:v>4.9868787366879686E-3</c:v>
                </c:pt>
                <c:pt idx="311">
                  <c:v>5.0097818059869547E-3</c:v>
                </c:pt>
                <c:pt idx="312">
                  <c:v>5.0327895294047008E-3</c:v>
                </c:pt>
                <c:pt idx="313">
                  <c:v>5.0559023802536993E-3</c:v>
                </c:pt>
                <c:pt idx="314">
                  <c:v>5.0791208339419957E-3</c:v>
                </c:pt>
                <c:pt idx="315">
                  <c:v>5.1024453679820118E-3</c:v>
                </c:pt>
                <c:pt idx="316">
                  <c:v>5.1258764619994705E-3</c:v>
                </c:pt>
                <c:pt idx="317">
                  <c:v>5.1494145977423016E-3</c:v>
                </c:pt>
                <c:pt idx="318">
                  <c:v>5.1730602590896292E-3</c:v>
                </c:pt>
                <c:pt idx="319">
                  <c:v>5.1968139320607331E-3</c:v>
                </c:pt>
                <c:pt idx="320">
                  <c:v>5.220676104824129E-3</c:v>
                </c:pt>
                <c:pt idx="321">
                  <c:v>5.2446472677065781E-3</c:v>
                </c:pt>
                <c:pt idx="322">
                  <c:v>5.2687279132022291E-3</c:v>
                </c:pt>
                <c:pt idx="323">
                  <c:v>5.2929185359817171E-3</c:v>
                </c:pt>
                <c:pt idx="324">
                  <c:v>5.3172196329013665E-3</c:v>
                </c:pt>
                <c:pt idx="325">
                  <c:v>5.3416317030123544E-3</c:v>
                </c:pt>
                <c:pt idx="326">
                  <c:v>5.3661552475699828E-3</c:v>
                </c:pt>
                <c:pt idx="327">
                  <c:v>5.3907907700429152E-3</c:v>
                </c:pt>
                <c:pt idx="328">
                  <c:v>5.4155387761225153E-3</c:v>
                </c:pt>
                <c:pt idx="329">
                  <c:v>5.4403997737321524E-3</c:v>
                </c:pt>
                <c:pt idx="330">
                  <c:v>5.4653742730366118E-3</c:v>
                </c:pt>
                <c:pt idx="331">
                  <c:v>5.4904627864514688E-3</c:v>
                </c:pt>
                <c:pt idx="332">
                  <c:v>5.5156658286525696E-3</c:v>
                </c:pt>
                <c:pt idx="333">
                  <c:v>5.5409839165854692E-3</c:v>
                </c:pt>
                <c:pt idx="334">
                  <c:v>5.5664175694750042E-3</c:v>
                </c:pt>
                <c:pt idx="335">
                  <c:v>5.5919673088347735E-3</c:v>
                </c:pt>
                <c:pt idx="336">
                  <c:v>5.617633658476783E-3</c:v>
                </c:pt>
                <c:pt idx="337">
                  <c:v>5.6434171445210379E-3</c:v>
                </c:pt>
                <c:pt idx="338">
                  <c:v>5.6693182954051938E-3</c:v>
                </c:pt>
                <c:pt idx="339">
                  <c:v>5.6953376418942782E-3</c:v>
                </c:pt>
                <c:pt idx="340">
                  <c:v>5.7214757170903794E-3</c:v>
                </c:pt>
                <c:pt idx="341">
                  <c:v>5.7477330564424537E-3</c:v>
                </c:pt>
                <c:pt idx="342">
                  <c:v>5.7741101977560796E-3</c:v>
                </c:pt>
                <c:pt idx="343">
                  <c:v>5.8006076812033396E-3</c:v>
                </c:pt>
                <c:pt idx="344">
                  <c:v>5.8272260493326426E-3</c:v>
                </c:pt>
                <c:pt idx="345">
                  <c:v>5.8539658470786841E-3</c:v>
                </c:pt>
                <c:pt idx="346">
                  <c:v>5.8808276217723332E-3</c:v>
                </c:pt>
                <c:pt idx="347">
                  <c:v>5.9078119231506816E-3</c:v>
                </c:pt>
                <c:pt idx="348">
                  <c:v>5.9349193033669855E-3</c:v>
                </c:pt>
                <c:pt idx="349">
                  <c:v>5.9621503170007801E-3</c:v>
                </c:pt>
                <c:pt idx="350">
                  <c:v>5.9895055210679241E-3</c:v>
                </c:pt>
                <c:pt idx="351">
                  <c:v>6.0169854750307663E-3</c:v>
                </c:pt>
                <c:pt idx="352">
                  <c:v>6.0445907408082662E-3</c:v>
                </c:pt>
                <c:pt idx="353">
                  <c:v>6.0723218827862403E-3</c:v>
                </c:pt>
                <c:pt idx="354">
                  <c:v>6.1001794678275482E-3</c:v>
                </c:pt>
                <c:pt idx="355">
                  <c:v>6.1281640652824168E-3</c:v>
                </c:pt>
                <c:pt idx="356">
                  <c:v>6.1562762469987058E-3</c:v>
                </c:pt>
                <c:pt idx="357">
                  <c:v>6.1845165873322906E-3</c:v>
                </c:pt>
                <c:pt idx="358">
                  <c:v>6.212885663157414E-3</c:v>
                </c:pt>
                <c:pt idx="359">
                  <c:v>6.2413840538771579E-3</c:v>
                </c:pt>
                <c:pt idx="360">
                  <c:v>6.2700123414338336E-3</c:v>
                </c:pt>
                <c:pt idx="361">
                  <c:v>6.2987711103195477E-3</c:v>
                </c:pt>
                <c:pt idx="362">
                  <c:v>6.3276609475866798E-3</c:v>
                </c:pt>
                <c:pt idx="363">
                  <c:v>6.3566824428585031E-3</c:v>
                </c:pt>
                <c:pt idx="364">
                  <c:v>6.3858361883397463E-3</c:v>
                </c:pt>
                <c:pt idx="365">
                  <c:v>6.4151227788272888E-3</c:v>
                </c:pt>
                <c:pt idx="366">
                  <c:v>6.4445428117208001E-3</c:v>
                </c:pt>
                <c:pt idx="367">
                  <c:v>6.474096887033506E-3</c:v>
                </c:pt>
                <c:pt idx="368">
                  <c:v>6.5037856074029055E-3</c:v>
                </c:pt>
                <c:pt idx="369">
                  <c:v>6.5336095781016144E-3</c:v>
                </c:pt>
                <c:pt idx="370">
                  <c:v>6.5635694070481582E-3</c:v>
                </c:pt>
                <c:pt idx="371">
                  <c:v>6.5936657048178927E-3</c:v>
                </c:pt>
                <c:pt idx="372">
                  <c:v>6.623899084653862E-3</c:v>
                </c:pt>
                <c:pt idx="373">
                  <c:v>6.6542701624778241E-3</c:v>
                </c:pt>
                <c:pt idx="374">
                  <c:v>6.6847795569011589E-3</c:v>
                </c:pt>
                <c:pt idx="375">
                  <c:v>6.7154278892359639E-3</c:v>
                </c:pt>
                <c:pt idx="376">
                  <c:v>6.7462157835060715E-3</c:v>
                </c:pt>
                <c:pt idx="377">
                  <c:v>6.7771438664581997E-3</c:v>
                </c:pt>
                <c:pt idx="378">
                  <c:v>6.8082127675730504E-3</c:v>
                </c:pt>
                <c:pt idx="379">
                  <c:v>6.8394231190765367E-3</c:v>
                </c:pt>
                <c:pt idx="380">
                  <c:v>6.8707755559509641E-3</c:v>
                </c:pt>
                <c:pt idx="381">
                  <c:v>6.9022707159463294E-3</c:v>
                </c:pt>
                <c:pt idx="382">
                  <c:v>6.9339092395915795E-3</c:v>
                </c:pt>
                <c:pt idx="383">
                  <c:v>6.9656917702059992E-3</c:v>
                </c:pt>
                <c:pt idx="384">
                  <c:v>6.9976189539105284E-3</c:v>
                </c:pt>
                <c:pt idx="385">
                  <c:v>7.029691439639241E-3</c:v>
                </c:pt>
                <c:pt idx="386">
                  <c:v>7.0619098791507426E-3</c:v>
                </c:pt>
                <c:pt idx="387">
                  <c:v>7.0942749270397325E-3</c:v>
                </c:pt>
                <c:pt idx="388">
                  <c:v>7.126787240748461E-3</c:v>
                </c:pt>
                <c:pt idx="389">
                  <c:v>7.1594474805783707E-3</c:v>
                </c:pt>
                <c:pt idx="390">
                  <c:v>7.1922563097016534E-3</c:v>
                </c:pt>
                <c:pt idx="391">
                  <c:v>7.2252143941729597E-3</c:v>
                </c:pt>
                <c:pt idx="392">
                  <c:v>7.258322402941034E-3</c:v>
                </c:pt>
                <c:pt idx="393">
                  <c:v>7.2915810078605014E-3</c:v>
                </c:pt>
                <c:pt idx="394">
                  <c:v>7.324990883703586E-3</c:v>
                </c:pt>
                <c:pt idx="395">
                  <c:v>7.3585527081719698E-3</c:v>
                </c:pt>
                <c:pt idx="396">
                  <c:v>7.3922671619086012E-3</c:v>
                </c:pt>
                <c:pt idx="397">
                  <c:v>7.4261349285096286E-3</c:v>
                </c:pt>
                <c:pt idx="398">
                  <c:v>7.4601566945362852E-3</c:v>
                </c:pt>
                <c:pt idx="399">
                  <c:v>7.4943331495269088E-3</c:v>
                </c:pt>
                <c:pt idx="400">
                  <c:v>7.5286649860088926E-3</c:v>
                </c:pt>
                <c:pt idx="401">
                  <c:v>7.5631528995108157E-3</c:v>
                </c:pt>
                <c:pt idx="402">
                  <c:v>7.5977975885744451E-3</c:v>
                </c:pt>
                <c:pt idx="403">
                  <c:v>7.6325997547669385E-3</c:v>
                </c:pt>
                <c:pt idx="404">
                  <c:v>7.6675601026929647E-3</c:v>
                </c:pt>
                <c:pt idx="405">
                  <c:v>7.702679340006958E-3</c:v>
                </c:pt>
                <c:pt idx="406">
                  <c:v>7.7379581774253223E-3</c:v>
                </c:pt>
                <c:pt idx="407">
                  <c:v>7.7733973287387797E-3</c:v>
                </c:pt>
                <c:pt idx="408">
                  <c:v>7.8089975108246419E-3</c:v>
                </c:pt>
                <c:pt idx="409">
                  <c:v>7.8447594436592393E-3</c:v>
                </c:pt>
                <c:pt idx="410">
                  <c:v>7.8806838503302813E-3</c:v>
                </c:pt>
                <c:pt idx="411">
                  <c:v>7.9167714570493649E-3</c:v>
                </c:pt>
                <c:pt idx="412">
                  <c:v>7.9530229931644124E-3</c:v>
                </c:pt>
                <c:pt idx="413">
                  <c:v>7.9894391911722578E-3</c:v>
                </c:pt>
                <c:pt idx="414">
                  <c:v>8.0260207867311698E-3</c:v>
                </c:pt>
                <c:pt idx="415">
                  <c:v>8.0627685186735378E-3</c:v>
                </c:pt>
                <c:pt idx="416">
                  <c:v>8.0996831290184469E-3</c:v>
                </c:pt>
                <c:pt idx="417">
                  <c:v>8.1367653629844435E-3</c:v>
                </c:pt>
                <c:pt idx="418">
                  <c:v>8.1740159690022202E-3</c:v>
                </c:pt>
                <c:pt idx="419">
                  <c:v>8.2114356987274487E-3</c:v>
                </c:pt>
                <c:pt idx="420">
                  <c:v>8.2490253070535442E-3</c:v>
                </c:pt>
                <c:pt idx="421">
                  <c:v>8.2867855521245749E-3</c:v>
                </c:pt>
                <c:pt idx="422">
                  <c:v>8.3247171953481237E-3</c:v>
                </c:pt>
                <c:pt idx="423">
                  <c:v>8.3628210014082688E-3</c:v>
                </c:pt>
                <c:pt idx="424">
                  <c:v>8.4010977382785196E-3</c:v>
                </c:pt>
                <c:pt idx="425">
                  <c:v>8.4395481772349054E-3</c:v>
                </c:pt>
                <c:pt idx="426">
                  <c:v>8.4781730928689559E-3</c:v>
                </c:pt>
                <c:pt idx="427">
                  <c:v>8.5169732631009167E-3</c:v>
                </c:pt>
                <c:pt idx="428">
                  <c:v>8.5559494691927803E-3</c:v>
                </c:pt>
                <c:pt idx="429">
                  <c:v>8.5951024957615675E-3</c:v>
                </c:pt>
                <c:pt idx="430">
                  <c:v>8.6344331307924935E-3</c:v>
                </c:pt>
                <c:pt idx="431">
                  <c:v>8.6739421656522892E-3</c:v>
                </c:pt>
                <c:pt idx="432">
                  <c:v>8.7136303951024664E-3</c:v>
                </c:pt>
                <c:pt idx="433">
                  <c:v>8.753498617312722E-3</c:v>
                </c:pt>
                <c:pt idx="434">
                  <c:v>8.7935476338742678E-3</c:v>
                </c:pt>
                <c:pt idx="435">
                  <c:v>8.8337782498133389E-3</c:v>
                </c:pt>
                <c:pt idx="436">
                  <c:v>8.8741912736046025E-3</c:v>
                </c:pt>
                <c:pt idx="437">
                  <c:v>8.9147875171847364E-3</c:v>
                </c:pt>
                <c:pt idx="438">
                  <c:v>8.9555677959659227E-3</c:v>
                </c:pt>
                <c:pt idx="439">
                  <c:v>8.9965329288495231E-3</c:v>
                </c:pt>
                <c:pt idx="440">
                  <c:v>9.0376837382396373E-3</c:v>
                </c:pt>
                <c:pt idx="441">
                  <c:v>9.0790210500568819E-3</c:v>
                </c:pt>
                <c:pt idx="442">
                  <c:v>9.1205456937520132E-3</c:v>
                </c:pt>
                <c:pt idx="443">
                  <c:v>9.1622585023197721E-3</c:v>
                </c:pt>
                <c:pt idx="444">
                  <c:v>9.2041603123126335E-3</c:v>
                </c:pt>
                <c:pt idx="445">
                  <c:v>9.2462519638547083E-3</c:v>
                </c:pt>
                <c:pt idx="446">
                  <c:v>9.2885343006555727E-3</c:v>
                </c:pt>
                <c:pt idx="447">
                  <c:v>9.3310081700242586E-3</c:v>
                </c:pt>
                <c:pt idx="448">
                  <c:v>9.3736744228831662E-3</c:v>
                </c:pt>
                <c:pt idx="449">
                  <c:v>9.4165339137821328E-3</c:v>
                </c:pt>
                <c:pt idx="450">
                  <c:v>9.4595875009124333E-3</c:v>
                </c:pt>
                <c:pt idx="451">
                  <c:v>9.5028360461209254E-3</c:v>
                </c:pt>
                <c:pt idx="452">
                  <c:v>9.546280414924134E-3</c:v>
                </c:pt>
                <c:pt idx="453">
                  <c:v>9.5899214765224877E-3</c:v>
                </c:pt>
                <c:pt idx="454">
                  <c:v>9.6337601038144552E-3</c:v>
                </c:pt>
                <c:pt idx="455">
                  <c:v>9.6777971734109229E-3</c:v>
                </c:pt>
                <c:pt idx="456">
                  <c:v>9.7220335656493621E-3</c:v>
                </c:pt>
                <c:pt idx="457">
                  <c:v>9.7664701646082795E-3</c:v>
                </c:pt>
                <c:pt idx="458">
                  <c:v>9.811107858121516E-3</c:v>
                </c:pt>
                <c:pt idx="459">
                  <c:v>9.8559475377927551E-3</c:v>
                </c:pt>
                <c:pt idx="460">
                  <c:v>9.9009900990099011E-3</c:v>
                </c:pt>
                <c:pt idx="461">
                  <c:v>9.9462364409596393E-3</c:v>
                </c:pt>
                <c:pt idx="462">
                  <c:v>9.9916874666419932E-3</c:v>
                </c:pt>
                <c:pt idx="463">
                  <c:v>1.0037344082884852E-2</c:v>
                </c:pt>
                <c:pt idx="464">
                  <c:v>1.008320720035866E-2</c:v>
                </c:pt>
                <c:pt idx="465">
                  <c:v>1.0129277733591043E-2</c:v>
                </c:pt>
                <c:pt idx="466">
                  <c:v>1.017555660098156E-2</c:v>
                </c:pt>
                <c:pt idx="467">
                  <c:v>1.0222044724816397E-2</c:v>
                </c:pt>
                <c:pt idx="468">
                  <c:v>1.0268743031283223E-2</c:v>
                </c:pt>
                <c:pt idx="469">
                  <c:v>1.0315652450485985E-2</c:v>
                </c:pt>
                <c:pt idx="470">
                  <c:v>1.0362773916459766E-2</c:v>
                </c:pt>
                <c:pt idx="471">
                  <c:v>1.0410108367185754E-2</c:v>
                </c:pt>
                <c:pt idx="472">
                  <c:v>1.0457656744606119E-2</c:v>
                </c:pt>
                <c:pt idx="473">
                  <c:v>1.0505419994639097E-2</c:v>
                </c:pt>
                <c:pt idx="474">
                  <c:v>1.0553399067193934E-2</c:v>
                </c:pt>
                <c:pt idx="475">
                  <c:v>1.0601594916186034E-2</c:v>
                </c:pt>
                <c:pt idx="476">
                  <c:v>1.0650008499552048E-2</c:v>
                </c:pt>
                <c:pt idx="477">
                  <c:v>1.0698640779264995E-2</c:v>
                </c:pt>
                <c:pt idx="478">
                  <c:v>1.0747492721349533E-2</c:v>
                </c:pt>
                <c:pt idx="479">
                  <c:v>1.0796565295897112E-2</c:v>
                </c:pt>
                <c:pt idx="480">
                  <c:v>1.0845859477081325E-2</c:v>
                </c:pt>
                <c:pt idx="481">
                  <c:v>1.0895376243173159E-2</c:v>
                </c:pt>
                <c:pt idx="482">
                  <c:v>1.0945116576556401E-2</c:v>
                </c:pt>
                <c:pt idx="483">
                  <c:v>1.0995081463743023E-2</c:v>
                </c:pt>
                <c:pt idx="484">
                  <c:v>1.1045271895388575E-2</c:v>
                </c:pt>
                <c:pt idx="485">
                  <c:v>1.1095688866307732E-2</c:v>
                </c:pt>
                <c:pt idx="486">
                  <c:v>1.1146333375489738E-2</c:v>
                </c:pt>
                <c:pt idx="487">
                  <c:v>1.119720642611402E-2</c:v>
                </c:pt>
                <c:pt idx="488">
                  <c:v>1.1248309025565732E-2</c:v>
                </c:pt>
                <c:pt idx="489">
                  <c:v>1.1299642185451418E-2</c:v>
                </c:pt>
                <c:pt idx="490">
                  <c:v>1.1351206921614702E-2</c:v>
                </c:pt>
                <c:pt idx="491">
                  <c:v>1.1403004254151923E-2</c:v>
                </c:pt>
                <c:pt idx="492">
                  <c:v>1.1455035207427989E-2</c:v>
                </c:pt>
                <c:pt idx="493">
                  <c:v>1.1507300810092063E-2</c:v>
                </c:pt>
                <c:pt idx="494">
                  <c:v>1.1559802095093491E-2</c:v>
                </c:pt>
                <c:pt idx="495">
                  <c:v>1.1612540099697574E-2</c:v>
                </c:pt>
                <c:pt idx="496">
                  <c:v>1.1665515865501548E-2</c:v>
                </c:pt>
                <c:pt idx="497">
                  <c:v>1.1718730438450502E-2</c:v>
                </c:pt>
                <c:pt idx="498">
                  <c:v>1.1772184868853321E-2</c:v>
                </c:pt>
                <c:pt idx="499">
                  <c:v>1.1825880211398784E-2</c:v>
                </c:pt>
                <c:pt idx="500">
                  <c:v>1.1879817525171541E-2</c:v>
                </c:pt>
                <c:pt idx="501">
                  <c:v>1.193399787366828E-2</c:v>
                </c:pt>
                <c:pt idx="502">
                  <c:v>1.1988422324813824E-2</c:v>
                </c:pt>
                <c:pt idx="503">
                  <c:v>1.2043091950977287E-2</c:v>
                </c:pt>
                <c:pt idx="504">
                  <c:v>1.2098007828988342E-2</c:v>
                </c:pt>
                <c:pt idx="505">
                  <c:v>1.2153171040153388E-2</c:v>
                </c:pt>
                <c:pt idx="506">
                  <c:v>1.2208582670271929E-2</c:v>
                </c:pt>
                <c:pt idx="507">
                  <c:v>1.2264243809652794E-2</c:v>
                </c:pt>
                <c:pt idx="508">
                  <c:v>1.2320155553130586E-2</c:v>
                </c:pt>
                <c:pt idx="509">
                  <c:v>1.2376319000082032E-2</c:v>
                </c:pt>
                <c:pt idx="510">
                  <c:v>1.2432735254442398E-2</c:v>
                </c:pt>
                <c:pt idx="511">
                  <c:v>1.248940542472202E-2</c:v>
                </c:pt>
                <c:pt idx="512">
                  <c:v>1.2546330624022729E-2</c:v>
                </c:pt>
                <c:pt idx="513">
                  <c:v>1.2603511970054482E-2</c:v>
                </c:pt>
                <c:pt idx="514">
                  <c:v>1.2660950585151843E-2</c:v>
                </c:pt>
                <c:pt idx="515">
                  <c:v>1.2718647596290688E-2</c:v>
                </c:pt>
                <c:pt idx="516">
                  <c:v>1.2776604135104806E-2</c:v>
                </c:pt>
                <c:pt idx="517">
                  <c:v>1.2834821337902563E-2</c:v>
                </c:pt>
                <c:pt idx="518">
                  <c:v>1.2893300345683693E-2</c:v>
                </c:pt>
                <c:pt idx="519">
                  <c:v>1.2952042304155968E-2</c:v>
                </c:pt>
                <c:pt idx="520">
                  <c:v>1.301104836375208E-2</c:v>
                </c:pt>
                <c:pt idx="521">
                  <c:v>1.3070319679646366E-2</c:v>
                </c:pt>
                <c:pt idx="522">
                  <c:v>1.3129857411771763E-2</c:v>
                </c:pt>
                <c:pt idx="523">
                  <c:v>1.3189662724836647E-2</c:v>
                </c:pt>
                <c:pt idx="524">
                  <c:v>1.3249736788341786E-2</c:v>
                </c:pt>
                <c:pt idx="525">
                  <c:v>1.3310080776597261E-2</c:v>
                </c:pt>
                <c:pt idx="526">
                  <c:v>1.3370695868739542E-2</c:v>
                </c:pt>
                <c:pt idx="527">
                  <c:v>1.3431583248748418E-2</c:v>
                </c:pt>
                <c:pt idx="528">
                  <c:v>1.3492744105464157E-2</c:v>
                </c:pt>
                <c:pt idx="529">
                  <c:v>1.355417963260456E-2</c:v>
                </c:pt>
                <c:pt idx="530">
                  <c:v>1.3615891028782053E-2</c:v>
                </c:pt>
                <c:pt idx="531">
                  <c:v>1.3677879497520935E-2</c:v>
                </c:pt>
                <c:pt idx="532">
                  <c:v>1.3740146247274482E-2</c:v>
                </c:pt>
                <c:pt idx="533">
                  <c:v>1.3802692491442269E-2</c:v>
                </c:pt>
                <c:pt idx="534">
                  <c:v>1.386551944838733E-2</c:v>
                </c:pt>
                <c:pt idx="535">
                  <c:v>1.3928628341453532E-2</c:v>
                </c:pt>
                <c:pt idx="536">
                  <c:v>1.3992020398982875E-2</c:v>
                </c:pt>
                <c:pt idx="537">
                  <c:v>1.4055696854332797E-2</c:v>
                </c:pt>
                <c:pt idx="538">
                  <c:v>1.4119658945893645E-2</c:v>
                </c:pt>
                <c:pt idx="539">
                  <c:v>1.4183907917106007E-2</c:v>
                </c:pt>
                <c:pt idx="540">
                  <c:v>1.424844501647823E-2</c:v>
                </c:pt>
                <c:pt idx="541">
                  <c:v>1.4313271497603834E-2</c:v>
                </c:pt>
                <c:pt idx="542">
                  <c:v>1.4378388619179077E-2</c:v>
                </c:pt>
                <c:pt idx="543">
                  <c:v>1.4443797645020471E-2</c:v>
                </c:pt>
                <c:pt idx="544">
                  <c:v>1.4509499844082297E-2</c:v>
                </c:pt>
                <c:pt idx="545">
                  <c:v>1.4575496490474304E-2</c:v>
                </c:pt>
                <c:pt idx="546">
                  <c:v>1.4641788863479213E-2</c:v>
                </c:pt>
                <c:pt idx="547">
                  <c:v>1.4708378247570495E-2</c:v>
                </c:pt>
                <c:pt idx="548">
                  <c:v>1.4775265932429926E-2</c:v>
                </c:pt>
                <c:pt idx="549">
                  <c:v>1.4842453212965409E-2</c:v>
                </c:pt>
                <c:pt idx="550">
                  <c:v>1.4909941389328647E-2</c:v>
                </c:pt>
                <c:pt idx="551">
                  <c:v>1.4977731766932886E-2</c:v>
                </c:pt>
                <c:pt idx="552">
                  <c:v>1.50458256564708E-2</c:v>
                </c:pt>
                <c:pt idx="553">
                  <c:v>1.5114224373932181E-2</c:v>
                </c:pt>
                <c:pt idx="554">
                  <c:v>1.5182929240621914E-2</c:v>
                </c:pt>
                <c:pt idx="555">
                  <c:v>1.5251941583177725E-2</c:v>
                </c:pt>
                <c:pt idx="556">
                  <c:v>1.5321262733588184E-2</c:v>
                </c:pt>
                <c:pt idx="557">
                  <c:v>1.5390894029210565E-2</c:v>
                </c:pt>
                <c:pt idx="558">
                  <c:v>1.5460836812788772E-2</c:v>
                </c:pt>
                <c:pt idx="559">
                  <c:v>1.5531092432471394E-2</c:v>
                </c:pt>
                <c:pt idx="560">
                  <c:v>1.5601662241829593E-2</c:v>
                </c:pt>
                <c:pt idx="561">
                  <c:v>1.5672547599875238E-2</c:v>
                </c:pt>
                <c:pt idx="562">
                  <c:v>1.5743749871078828E-2</c:v>
                </c:pt>
                <c:pt idx="563">
                  <c:v>1.5815270425387658E-2</c:v>
                </c:pt>
                <c:pt idx="564">
                  <c:v>1.5887110638243877E-2</c:v>
                </c:pt>
                <c:pt idx="565">
                  <c:v>1.5959271890602533E-2</c:v>
                </c:pt>
                <c:pt idx="566">
                  <c:v>1.6031755568949823E-2</c:v>
                </c:pt>
                <c:pt idx="567">
                  <c:v>1.610456306532114E-2</c:v>
                </c:pt>
                <c:pt idx="568">
                  <c:v>1.6177695777319329E-2</c:v>
                </c:pt>
                <c:pt idx="569">
                  <c:v>1.6251155108132846E-2</c:v>
                </c:pt>
                <c:pt idx="570">
                  <c:v>1.632494246655395E-2</c:v>
                </c:pt>
                <c:pt idx="571">
                  <c:v>1.6399059266997019E-2</c:v>
                </c:pt>
                <c:pt idx="572">
                  <c:v>1.6473506929516702E-2</c:v>
                </c:pt>
                <c:pt idx="573">
                  <c:v>1.6548286879826308E-2</c:v>
                </c:pt>
                <c:pt idx="574">
                  <c:v>1.6623400549315985E-2</c:v>
                </c:pt>
                <c:pt idx="575">
                  <c:v>1.6698849375071136E-2</c:v>
                </c:pt>
                <c:pt idx="576">
                  <c:v>1.6774634799890702E-2</c:v>
                </c:pt>
                <c:pt idx="577">
                  <c:v>1.6850758272305481E-2</c:v>
                </c:pt>
                <c:pt idx="578">
                  <c:v>1.6927221246596565E-2</c:v>
                </c:pt>
                <c:pt idx="579">
                  <c:v>1.7004025182813638E-2</c:v>
                </c:pt>
                <c:pt idx="580">
                  <c:v>1.7081171546793474E-2</c:v>
                </c:pt>
                <c:pt idx="581">
                  <c:v>1.7158661810178229E-2</c:v>
                </c:pt>
                <c:pt idx="582">
                  <c:v>1.7236497450433985E-2</c:v>
                </c:pt>
                <c:pt idx="583">
                  <c:v>1.7314679950869136E-2</c:v>
                </c:pt>
                <c:pt idx="584">
                  <c:v>1.7393210800652811E-2</c:v>
                </c:pt>
                <c:pt idx="585">
                  <c:v>1.747209149483344E-2</c:v>
                </c:pt>
                <c:pt idx="586">
                  <c:v>1.7551323534357125E-2</c:v>
                </c:pt>
                <c:pt idx="587">
                  <c:v>1.7630908426086247E-2</c:v>
                </c:pt>
                <c:pt idx="588">
                  <c:v>1.7710847682817863E-2</c:v>
                </c:pt>
                <c:pt idx="589">
                  <c:v>1.7791142823302322E-2</c:v>
                </c:pt>
                <c:pt idx="590">
                  <c:v>1.7871795372261762E-2</c:v>
                </c:pt>
                <c:pt idx="591">
                  <c:v>1.7952806860408597E-2</c:v>
                </c:pt>
                <c:pt idx="592">
                  <c:v>1.8034178824464162E-2</c:v>
                </c:pt>
                <c:pt idx="593">
                  <c:v>1.8115912807177201E-2</c:v>
                </c:pt>
                <c:pt idx="594">
                  <c:v>1.8198010357342462E-2</c:v>
                </c:pt>
                <c:pt idx="595">
                  <c:v>1.8280473029819277E-2</c:v>
                </c:pt>
                <c:pt idx="596">
                  <c:v>1.8363302385550149E-2</c:v>
                </c:pt>
                <c:pt idx="597">
                  <c:v>1.8446499991579317E-2</c:v>
                </c:pt>
                <c:pt idx="598">
                  <c:v>1.8530067421071394E-2</c:v>
                </c:pt>
                <c:pt idx="599">
                  <c:v>1.8614006253329932E-2</c:v>
                </c:pt>
                <c:pt idx="600">
                  <c:v>1.8698318073816077E-2</c:v>
                </c:pt>
                <c:pt idx="601">
                  <c:v>1.8783004474167132E-2</c:v>
                </c:pt>
                <c:pt idx="602">
                  <c:v>1.8868067052215203E-2</c:v>
                </c:pt>
                <c:pt idx="603">
                  <c:v>1.895350741200583E-2</c:v>
                </c:pt>
                <c:pt idx="604">
                  <c:v>1.9039327163816577E-2</c:v>
                </c:pt>
                <c:pt idx="605">
                  <c:v>1.9125527924175694E-2</c:v>
                </c:pt>
                <c:pt idx="606">
                  <c:v>1.9212111315880718E-2</c:v>
                </c:pt>
                <c:pt idx="607">
                  <c:v>1.9299078968017136E-2</c:v>
                </c:pt>
                <c:pt idx="608">
                  <c:v>1.9386432515976961E-2</c:v>
                </c:pt>
                <c:pt idx="609">
                  <c:v>1.9474173601477414E-2</c:v>
                </c:pt>
                <c:pt idx="610">
                  <c:v>1.9562303872579515E-2</c:v>
                </c:pt>
                <c:pt idx="611">
                  <c:v>1.9650824983706721E-2</c:v>
                </c:pt>
                <c:pt idx="612">
                  <c:v>1.973973859566356E-2</c:v>
                </c:pt>
                <c:pt idx="613">
                  <c:v>1.9829046375654216E-2</c:v>
                </c:pt>
                <c:pt idx="614">
                  <c:v>1.9918749997301199E-2</c:v>
                </c:pt>
                <c:pt idx="615">
                  <c:v>2.0008851140663912E-2</c:v>
                </c:pt>
                <c:pt idx="616">
                  <c:v>2.0099351492257257E-2</c:v>
                </c:pt>
                <c:pt idx="617">
                  <c:v>2.0190252745070265E-2</c:v>
                </c:pt>
                <c:pt idx="618">
                  <c:v>2.028155659858466E-2</c:v>
                </c:pt>
                <c:pt idx="619">
                  <c:v>2.0373264758793464E-2</c:v>
                </c:pt>
                <c:pt idx="620">
                  <c:v>2.0465378938219547E-2</c:v>
                </c:pt>
                <c:pt idx="621">
                  <c:v>2.0557900855934251E-2</c:v>
                </c:pt>
                <c:pt idx="622">
                  <c:v>2.0650832237575866E-2</c:v>
                </c:pt>
                <c:pt idx="623">
                  <c:v>2.0744174815368249E-2</c:v>
                </c:pt>
                <c:pt idx="624">
                  <c:v>2.0837930328139312E-2</c:v>
                </c:pt>
                <c:pt idx="625">
                  <c:v>2.0932100521339581E-2</c:v>
                </c:pt>
                <c:pt idx="626">
                  <c:v>2.1026687147060675E-2</c:v>
                </c:pt>
                <c:pt idx="627">
                  <c:v>2.1121691964053835E-2</c:v>
                </c:pt>
                <c:pt idx="628">
                  <c:v>2.1217116737748384E-2</c:v>
                </c:pt>
                <c:pt idx="629">
                  <c:v>2.1312963240270183E-2</c:v>
                </c:pt>
                <c:pt idx="630">
                  <c:v>2.1409233250460111E-2</c:v>
                </c:pt>
                <c:pt idx="631">
                  <c:v>2.1505928553892471E-2</c:v>
                </c:pt>
                <c:pt idx="632">
                  <c:v>2.1603050942893425E-2</c:v>
                </c:pt>
                <c:pt idx="633">
                  <c:v>2.1700602216559377E-2</c:v>
                </c:pt>
                <c:pt idx="634">
                  <c:v>2.1798584180775356E-2</c:v>
                </c:pt>
                <c:pt idx="635">
                  <c:v>2.1896998648233367E-2</c:v>
                </c:pt>
                <c:pt idx="636">
                  <c:v>2.1995847438450723E-2</c:v>
                </c:pt>
                <c:pt idx="637">
                  <c:v>2.2095132377788349E-2</c:v>
                </c:pt>
                <c:pt idx="638">
                  <c:v>2.2194855299469098E-2</c:v>
                </c:pt>
                <c:pt idx="639">
                  <c:v>2.2295018043595977E-2</c:v>
                </c:pt>
                <c:pt idx="640">
                  <c:v>2.239562245717041E-2</c:v>
                </c:pt>
                <c:pt idx="641">
                  <c:v>2.2496670394110463E-2</c:v>
                </c:pt>
                <c:pt idx="642">
                  <c:v>2.2598163715268973E-2</c:v>
                </c:pt>
                <c:pt idx="643">
                  <c:v>2.2700104288451758E-2</c:v>
                </c:pt>
                <c:pt idx="644">
                  <c:v>2.2802493988435733E-2</c:v>
                </c:pt>
                <c:pt idx="645">
                  <c:v>2.2905334696986978E-2</c:v>
                </c:pt>
                <c:pt idx="646">
                  <c:v>2.3008628302878854E-2</c:v>
                </c:pt>
                <c:pt idx="647">
                  <c:v>2.3112376701909979E-2</c:v>
                </c:pt>
                <c:pt idx="648">
                  <c:v>2.3216581796922282E-2</c:v>
                </c:pt>
                <c:pt idx="649">
                  <c:v>2.3321245497818957E-2</c:v>
                </c:pt>
                <c:pt idx="650">
                  <c:v>2.3426369721582362E-2</c:v>
                </c:pt>
                <c:pt idx="651">
                  <c:v>2.3531956392291931E-2</c:v>
                </c:pt>
                <c:pt idx="652">
                  <c:v>2.3638007441142063E-2</c:v>
                </c:pt>
                <c:pt idx="653">
                  <c:v>2.3744524806459888E-2</c:v>
                </c:pt>
                <c:pt idx="654">
                  <c:v>2.3851510433723119E-2</c:v>
                </c:pt>
                <c:pt idx="655">
                  <c:v>2.3958966275577712E-2</c:v>
                </c:pt>
                <c:pt idx="656">
                  <c:v>2.4066894291855614E-2</c:v>
                </c:pt>
                <c:pt idx="657">
                  <c:v>2.4175296449592404E-2</c:v>
                </c:pt>
                <c:pt idx="658">
                  <c:v>2.4284174723044914E-2</c:v>
                </c:pt>
                <c:pt idx="659">
                  <c:v>2.4393531093708769E-2</c:v>
                </c:pt>
                <c:pt idx="660">
                  <c:v>2.4503367550335973E-2</c:v>
                </c:pt>
                <c:pt idx="661">
                  <c:v>2.4613686088952293E-2</c:v>
                </c:pt>
                <c:pt idx="662">
                  <c:v>2.4724488712874748E-2</c:v>
                </c:pt>
                <c:pt idx="663">
                  <c:v>2.4835777432728967E-2</c:v>
                </c:pt>
                <c:pt idx="664">
                  <c:v>2.4947554266466505E-2</c:v>
                </c:pt>
                <c:pt idx="665">
                  <c:v>2.5059821239382135E-2</c:v>
                </c:pt>
                <c:pt idx="666">
                  <c:v>2.5172580384131032E-2</c:v>
                </c:pt>
                <c:pt idx="667">
                  <c:v>2.5285833740746014E-2</c:v>
                </c:pt>
                <c:pt idx="668">
                  <c:v>2.5399583356654556E-2</c:v>
                </c:pt>
                <c:pt idx="669">
                  <c:v>2.5513831286695911E-2</c:v>
                </c:pt>
                <c:pt idx="670">
                  <c:v>2.5628579593138065E-2</c:v>
                </c:pt>
                <c:pt idx="671">
                  <c:v>2.5743830345694715E-2</c:v>
                </c:pt>
                <c:pt idx="672">
                  <c:v>2.5859585621542103E-2</c:v>
                </c:pt>
                <c:pt idx="673">
                  <c:v>2.5975847505335846E-2</c:v>
                </c:pt>
                <c:pt idx="674">
                  <c:v>2.609261808922771E-2</c:v>
                </c:pt>
                <c:pt idx="675">
                  <c:v>2.6209899472882259E-2</c:v>
                </c:pt>
                <c:pt idx="676">
                  <c:v>2.6327693763493483E-2</c:v>
                </c:pt>
                <c:pt idx="677">
                  <c:v>2.6446003075801354E-2</c:v>
                </c:pt>
                <c:pt idx="678">
                  <c:v>2.6564829532108331E-2</c:v>
                </c:pt>
                <c:pt idx="679">
                  <c:v>2.6684175262295749E-2</c:v>
                </c:pt>
                <c:pt idx="680">
                  <c:v>2.6804042403840149E-2</c:v>
                </c:pt>
                <c:pt idx="681">
                  <c:v>2.6924433101829612E-2</c:v>
                </c:pt>
                <c:pt idx="682">
                  <c:v>2.7045349508979886E-2</c:v>
                </c:pt>
                <c:pt idx="683">
                  <c:v>2.7166793785650539E-2</c:v>
                </c:pt>
                <c:pt idx="684">
                  <c:v>2.7288768099860989E-2</c:v>
                </c:pt>
                <c:pt idx="685">
                  <c:v>2.7411274627306501E-2</c:v>
                </c:pt>
                <c:pt idx="686">
                  <c:v>2.7534315551374033E-2</c:v>
                </c:pt>
                <c:pt idx="687">
                  <c:v>2.7657893063158075E-2</c:v>
                </c:pt>
                <c:pt idx="688">
                  <c:v>2.7782009361476363E-2</c:v>
                </c:pt>
                <c:pt idx="689">
                  <c:v>2.7906666652885499E-2</c:v>
                </c:pt>
                <c:pt idx="690">
                  <c:v>2.8031867151696522E-2</c:v>
                </c:pt>
                <c:pt idx="691">
                  <c:v>2.815761307999037E-2</c:v>
                </c:pt>
                <c:pt idx="692">
                  <c:v>2.8283906667633262E-2</c:v>
                </c:pt>
                <c:pt idx="693">
                  <c:v>2.8410750152291962E-2</c:v>
                </c:pt>
                <c:pt idx="694">
                  <c:v>2.8538145779449034E-2</c:v>
                </c:pt>
                <c:pt idx="695">
                  <c:v>2.8666095802417864E-2</c:v>
                </c:pt>
                <c:pt idx="696">
                  <c:v>2.8794602482357715E-2</c:v>
                </c:pt>
                <c:pt idx="697">
                  <c:v>2.8923668088288643E-2</c:v>
                </c:pt>
                <c:pt idx="698">
                  <c:v>2.9053294897106282E-2</c:v>
                </c:pt>
                <c:pt idx="699">
                  <c:v>2.9183485193596578E-2</c:v>
                </c:pt>
                <c:pt idx="700">
                  <c:v>2.9314241270450382E-2</c:v>
                </c:pt>
                <c:pt idx="701">
                  <c:v>2.9445565428278007E-2</c:v>
                </c:pt>
                <c:pt idx="702">
                  <c:v>2.9577459975623561E-2</c:v>
                </c:pt>
                <c:pt idx="703">
                  <c:v>2.9709927228979308E-2</c:v>
                </c:pt>
                <c:pt idx="704">
                  <c:v>2.98429695127998E-2</c:v>
                </c:pt>
                <c:pt idx="705">
                  <c:v>2.9976589159516013E-2</c:v>
                </c:pt>
                <c:pt idx="706">
                  <c:v>3.0110788509549288E-2</c:v>
                </c:pt>
                <c:pt idx="707">
                  <c:v>3.0245569911325182E-2</c:v>
                </c:pt>
                <c:pt idx="708">
                  <c:v>3.038093572128725E-2</c:v>
                </c:pt>
                <c:pt idx="709">
                  <c:v>3.0516888303910614E-2</c:v>
                </c:pt>
                <c:pt idx="710">
                  <c:v>3.0653430031715501E-2</c:v>
                </c:pt>
                <c:pt idx="711">
                  <c:v>3.0790563285280612E-2</c:v>
                </c:pt>
                <c:pt idx="712">
                  <c:v>3.0928290453256419E-2</c:v>
                </c:pt>
                <c:pt idx="713">
                  <c:v>3.1066613932378268E-2</c:v>
                </c:pt>
                <c:pt idx="714">
                  <c:v>3.1205536127479411E-2</c:v>
                </c:pt>
                <c:pt idx="715">
                  <c:v>3.1345059451503933E-2</c:v>
                </c:pt>
                <c:pt idx="716">
                  <c:v>3.1485186325519429E-2</c:v>
                </c:pt>
                <c:pt idx="717">
                  <c:v>3.1625919178729686E-2</c:v>
                </c:pt>
                <c:pt idx="718">
                  <c:v>3.1767260448487177E-2</c:v>
                </c:pt>
                <c:pt idx="719">
                  <c:v>3.1909212580305393E-2</c:v>
                </c:pt>
                <c:pt idx="720">
                  <c:v>3.2051778027871104E-2</c:v>
                </c:pt>
                <c:pt idx="721">
                  <c:v>3.2194959253056397E-2</c:v>
                </c:pt>
                <c:pt idx="722">
                  <c:v>3.2338758725930686E-2</c:v>
                </c:pt>
                <c:pt idx="723">
                  <c:v>3.2483178924772441E-2</c:v>
                </c:pt>
                <c:pt idx="724">
                  <c:v>3.2628222336080884E-2</c:v>
                </c:pt>
                <c:pt idx="725">
                  <c:v>3.2773891454587492E-2</c:v>
                </c:pt>
                <c:pt idx="726">
                  <c:v>3.2920188783267357E-2</c:v>
                </c:pt>
                <c:pt idx="727">
                  <c:v>3.3067116833350403E-2</c:v>
                </c:pt>
                <c:pt idx="728">
                  <c:v>3.3214678124332403E-2</c:v>
                </c:pt>
                <c:pt idx="729">
                  <c:v>3.3362875183985979E-2</c:v>
                </c:pt>
                <c:pt idx="730">
                  <c:v>3.3511710548371244E-2</c:v>
                </c:pt>
                <c:pt idx="731">
                  <c:v>3.3661186761846436E-2</c:v>
                </c:pt>
                <c:pt idx="732">
                  <c:v>3.3811306377078361E-2</c:v>
                </c:pt>
                <c:pt idx="733">
                  <c:v>3.3962071955052603E-2</c:v>
                </c:pt>
                <c:pt idx="734">
                  <c:v>3.411348606508368E-2</c:v>
                </c:pt>
                <c:pt idx="735">
                  <c:v>3.4265551284824967E-2</c:v>
                </c:pt>
                <c:pt idx="736">
                  <c:v>3.441827020027842E-2</c:v>
                </c:pt>
                <c:pt idx="737">
                  <c:v>3.457164540580418E-2</c:v>
                </c:pt>
                <c:pt idx="738">
                  <c:v>3.4725679504130011E-2</c:v>
                </c:pt>
                <c:pt idx="739">
                  <c:v>3.488037510636053E-2</c:v>
                </c:pt>
                <c:pt idx="740">
                  <c:v>3.503573483198627E-2</c:v>
                </c:pt>
                <c:pt idx="741">
                  <c:v>3.5191761308892525E-2</c:v>
                </c:pt>
                <c:pt idx="742">
                  <c:v>3.5348457173368132E-2</c:v>
                </c:pt>
                <c:pt idx="743">
                  <c:v>3.5505825070113906E-2</c:v>
                </c:pt>
                <c:pt idx="744">
                  <c:v>3.5663867652250984E-2</c:v>
                </c:pt>
                <c:pt idx="745">
                  <c:v>3.5822587581328995E-2</c:v>
                </c:pt>
                <c:pt idx="746">
                  <c:v>3.5981987527333947E-2</c:v>
                </c:pt>
                <c:pt idx="747">
                  <c:v>3.6142070168696069E-2</c:v>
                </c:pt>
                <c:pt idx="748">
                  <c:v>3.6302838192297224E-2</c:v>
                </c:pt>
                <c:pt idx="749">
                  <c:v>3.6464294293478444E-2</c:v>
                </c:pt>
                <c:pt idx="750">
                  <c:v>3.662644117604693E-2</c:v>
                </c:pt>
                <c:pt idx="751">
                  <c:v>3.678928155228306E-2</c:v>
                </c:pt>
                <c:pt idx="752">
                  <c:v>3.6952818142947139E-2</c:v>
                </c:pt>
                <c:pt idx="753">
                  <c:v>3.7117053677285933E-2</c:v>
                </c:pt>
                <c:pt idx="754">
                  <c:v>3.7281990893038977E-2</c:v>
                </c:pt>
                <c:pt idx="755">
                  <c:v>3.7447632536444682E-2</c:v>
                </c:pt>
                <c:pt idx="756">
                  <c:v>3.7613981362246293E-2</c:v>
                </c:pt>
                <c:pt idx="757">
                  <c:v>3.7781040133697444E-2</c:v>
                </c:pt>
                <c:pt idx="758">
                  <c:v>3.7948811622567739E-2</c:v>
                </c:pt>
                <c:pt idx="759">
                  <c:v>3.8117298609147872E-2</c:v>
                </c:pt>
                <c:pt idx="760">
                  <c:v>3.8286503882254734E-2</c:v>
                </c:pt>
                <c:pt idx="761">
                  <c:v>3.845643023923611E-2</c:v>
                </c:pt>
                <c:pt idx="762">
                  <c:v>3.8627080485975254E-2</c:v>
                </c:pt>
                <c:pt idx="763">
                  <c:v>3.8798457436895244E-2</c:v>
                </c:pt>
                <c:pt idx="764">
                  <c:v>3.8970563914962952E-2</c:v>
                </c:pt>
                <c:pt idx="765">
                  <c:v>3.9143402751692973E-2</c:v>
                </c:pt>
                <c:pt idx="766">
                  <c:v>3.9316976787151188E-2</c:v>
                </c:pt>
                <c:pt idx="767">
                  <c:v>3.9491288869958091E-2</c:v>
                </c:pt>
                <c:pt idx="768">
                  <c:v>3.9666341857291905E-2</c:v>
                </c:pt>
                <c:pt idx="769">
                  <c:v>3.9842138614891498E-2</c:v>
                </c:pt>
                <c:pt idx="770">
                  <c:v>4.0018682017058861E-2</c:v>
                </c:pt>
                <c:pt idx="771">
                  <c:v>4.0195974946661543E-2</c:v>
                </c:pt>
                <c:pt idx="772">
                  <c:v>4.0374020295134691E-2</c:v>
                </c:pt>
                <c:pt idx="773">
                  <c:v>4.0552820962482909E-2</c:v>
                </c:pt>
                <c:pt idx="774">
                  <c:v>4.07323798572818E-2</c:v>
                </c:pt>
                <c:pt idx="775">
                  <c:v>4.0912699896679297E-2</c:v>
                </c:pt>
                <c:pt idx="776">
                  <c:v>4.1093784006396607E-2</c:v>
                </c:pt>
                <c:pt idx="777">
                  <c:v>4.1275635120729036E-2</c:v>
                </c:pt>
                <c:pt idx="778">
                  <c:v>4.1458256182546449E-2</c:v>
                </c:pt>
                <c:pt idx="779">
                  <c:v>4.1641650143293477E-2</c:v>
                </c:pt>
                <c:pt idx="780">
                  <c:v>4.1825819962989418E-2</c:v>
                </c:pt>
                <c:pt idx="781">
                  <c:v>4.2010768610227872E-2</c:v>
                </c:pt>
                <c:pt idx="782">
                  <c:v>4.2196499062176165E-2</c:v>
                </c:pt>
                <c:pt idx="783">
                  <c:v>4.2383014304574286E-2</c:v>
                </c:pt>
                <c:pt idx="784">
                  <c:v>4.2570317331733755E-2</c:v>
                </c:pt>
                <c:pt idx="785">
                  <c:v>4.2758411146536043E-2</c:v>
                </c:pt>
                <c:pt idx="786">
                  <c:v>4.2947298760430776E-2</c:v>
                </c:pt>
                <c:pt idx="787">
                  <c:v>4.3136983193433592E-2</c:v>
                </c:pt>
                <c:pt idx="788">
                  <c:v>4.33274674741237E-2</c:v>
                </c:pt>
                <c:pt idx="789">
                  <c:v>4.3518754639641201E-2</c:v>
                </c:pt>
                <c:pt idx="790">
                  <c:v>4.3710847735683955E-2</c:v>
                </c:pt>
                <c:pt idx="791">
                  <c:v>4.3903749816504266E-2</c:v>
                </c:pt>
                <c:pt idx="792">
                  <c:v>4.4097463944905178E-2</c:v>
                </c:pt>
                <c:pt idx="793">
                  <c:v>4.429199319223652E-2</c:v>
                </c:pt>
                <c:pt idx="794">
                  <c:v>4.4487340638390542E-2</c:v>
                </c:pt>
                <c:pt idx="795">
                  <c:v>4.4683509371797249E-2</c:v>
                </c:pt>
                <c:pt idx="796">
                  <c:v>4.4880502489419521E-2</c:v>
                </c:pt>
                <c:pt idx="797">
                  <c:v>4.507832309674769E-2</c:v>
                </c:pt>
                <c:pt idx="798">
                  <c:v>4.527697430779392E-2</c:v>
                </c:pt>
                <c:pt idx="799">
                  <c:v>4.5476459245086281E-2</c:v>
                </c:pt>
                <c:pt idx="800">
                  <c:v>4.567678103966237E-2</c:v>
                </c:pt>
                <c:pt idx="801">
                  <c:v>4.5877942831062619E-2</c:v>
                </c:pt>
                <c:pt idx="802">
                  <c:v>4.6079947767323388E-2</c:v>
                </c:pt>
                <c:pt idx="803">
                  <c:v>4.6282799004969427E-2</c:v>
                </c:pt>
                <c:pt idx="804">
                  <c:v>4.6486499709006278E-2</c:v>
                </c:pt>
                <c:pt idx="805">
                  <c:v>4.6691053052912129E-2</c:v>
                </c:pt>
                <c:pt idx="806">
                  <c:v>4.6896462218629371E-2</c:v>
                </c:pt>
                <c:pt idx="807">
                  <c:v>4.7102730396555811E-2</c:v>
                </c:pt>
                <c:pt idx="808">
                  <c:v>4.7309860785535451E-2</c:v>
                </c:pt>
                <c:pt idx="809">
                  <c:v>4.7517856592849017E-2</c:v>
                </c:pt>
                <c:pt idx="810">
                  <c:v>4.7726721034203889E-2</c:v>
                </c:pt>
                <c:pt idx="811">
                  <c:v>4.7936457333723918E-2</c:v>
                </c:pt>
                <c:pt idx="812">
                  <c:v>4.8147068723938688E-2</c:v>
                </c:pt>
                <c:pt idx="813">
                  <c:v>4.8358558445772443E-2</c:v>
                </c:pt>
                <c:pt idx="814">
                  <c:v>4.857092974853261E-2</c:v>
                </c:pt>
                <c:pt idx="815">
                  <c:v>4.8784185889897948E-2</c:v>
                </c:pt>
                <c:pt idx="816">
                  <c:v>4.8998330135906376E-2</c:v>
                </c:pt>
                <c:pt idx="817">
                  <c:v>4.9213365760942165E-2</c:v>
                </c:pt>
                <c:pt idx="818">
                  <c:v>4.942929604772299E-2</c:v>
                </c:pt>
                <c:pt idx="819">
                  <c:v>4.9646124287286458E-2</c:v>
                </c:pt>
                <c:pt idx="820">
                  <c:v>4.9863853778976196E-2</c:v>
                </c:pt>
                <c:pt idx="821">
                  <c:v>5.0082487830427611E-2</c:v>
                </c:pt>
                <c:pt idx="822">
                  <c:v>5.0302029757553129E-2</c:v>
                </c:pt>
                <c:pt idx="823">
                  <c:v>5.0522482884527181E-2</c:v>
                </c:pt>
                <c:pt idx="824">
                  <c:v>5.0743850543770515E-2</c:v>
                </c:pt>
                <c:pt idx="825">
                  <c:v>5.0966136075934282E-2</c:v>
                </c:pt>
                <c:pt idx="826">
                  <c:v>5.1189342829883668E-2</c:v>
                </c:pt>
                <c:pt idx="827">
                  <c:v>5.1413474162680987E-2</c:v>
                </c:pt>
                <c:pt idx="828">
                  <c:v>5.163853343956841E-2</c:v>
                </c:pt>
                <c:pt idx="829">
                  <c:v>5.1864524033950254E-2</c:v>
                </c:pt>
                <c:pt idx="830">
                  <c:v>5.2091449327374861E-2</c:v>
                </c:pt>
                <c:pt idx="831">
                  <c:v>5.2319312709515849E-2</c:v>
                </c:pt>
                <c:pt idx="832">
                  <c:v>5.2548117578153128E-2</c:v>
                </c:pt>
                <c:pt idx="833">
                  <c:v>5.277786733915335E-2</c:v>
                </c:pt>
                <c:pt idx="834">
                  <c:v>5.3008565406449902E-2</c:v>
                </c:pt>
                <c:pt idx="835">
                  <c:v>5.324021520202242E-2</c:v>
                </c:pt>
                <c:pt idx="836">
                  <c:v>5.3472820155875941E-2</c:v>
                </c:pt>
                <c:pt idx="837">
                  <c:v>5.3706383706019413E-2</c:v>
                </c:pt>
                <c:pt idx="838">
                  <c:v>5.3940909298443834E-2</c:v>
                </c:pt>
                <c:pt idx="839">
                  <c:v>5.4176400387099921E-2</c:v>
                </c:pt>
                <c:pt idx="840">
                  <c:v>5.4412860433875228E-2</c:v>
                </c:pt>
                <c:pt idx="841">
                  <c:v>5.4650292908570847E-2</c:v>
                </c:pt>
                <c:pt idx="842">
                  <c:v>5.4888701288877552E-2</c:v>
                </c:pt>
                <c:pt idx="843">
                  <c:v>5.5128089060351541E-2</c:v>
                </c:pt>
                <c:pt idx="844">
                  <c:v>5.5368459716389505E-2</c:v>
                </c:pt>
                <c:pt idx="845">
                  <c:v>5.5609816758203388E-2</c:v>
                </c:pt>
                <c:pt idx="846">
                  <c:v>5.585216369479451E-2</c:v>
                </c:pt>
                <c:pt idx="847">
                  <c:v>5.6095504042927277E-2</c:v>
                </c:pt>
                <c:pt idx="848">
                  <c:v>5.6339841327102243E-2</c:v>
                </c:pt>
                <c:pt idx="849">
                  <c:v>5.6585179079528793E-2</c:v>
                </c:pt>
                <c:pt idx="850">
                  <c:v>5.6831520840097224E-2</c:v>
                </c:pt>
                <c:pt idx="851">
                  <c:v>5.7078870156350325E-2</c:v>
                </c:pt>
                <c:pt idx="852">
                  <c:v>5.7327230583454347E-2</c:v>
                </c:pt>
                <c:pt idx="853">
                  <c:v>5.7576605684169564E-2</c:v>
                </c:pt>
                <c:pt idx="854">
                  <c:v>5.7826999028820283E-2</c:v>
                </c:pt>
                <c:pt idx="855">
                  <c:v>5.807841419526414E-2</c:v>
                </c:pt>
                <c:pt idx="856">
                  <c:v>5.8330854768861039E-2</c:v>
                </c:pt>
                <c:pt idx="857">
                  <c:v>5.8584324342441547E-2</c:v>
                </c:pt>
                <c:pt idx="858">
                  <c:v>5.8838826516274499E-2</c:v>
                </c:pt>
                <c:pt idx="859">
                  <c:v>5.909436489803431E-2</c:v>
                </c:pt>
                <c:pt idx="860">
                  <c:v>5.9350943102767589E-2</c:v>
                </c:pt>
                <c:pt idx="861">
                  <c:v>5.9608564752859222E-2</c:v>
                </c:pt>
                <c:pt idx="862">
                  <c:v>5.9867233477997842E-2</c:v>
                </c:pt>
                <c:pt idx="863">
                  <c:v>6.0126952915140745E-2</c:v>
                </c:pt>
                <c:pt idx="864">
                  <c:v>6.0387726708478348E-2</c:v>
                </c:pt>
                <c:pt idx="865">
                  <c:v>6.0649558509397787E-2</c:v>
                </c:pt>
                <c:pt idx="866">
                  <c:v>6.0912451976446187E-2</c:v>
                </c:pt>
                <c:pt idx="867">
                  <c:v>6.1176410775293191E-2</c:v>
                </c:pt>
                <c:pt idx="868">
                  <c:v>6.1441438578693004E-2</c:v>
                </c:pt>
                <c:pt idx="869">
                  <c:v>6.1707539066445674E-2</c:v>
                </c:pt>
                <c:pt idx="870">
                  <c:v>6.1974715925357984E-2</c:v>
                </c:pt>
                <c:pt idx="871">
                  <c:v>6.2242972849203576E-2</c:v>
                </c:pt>
                <c:pt idx="872">
                  <c:v>6.2512313538682418E-2</c:v>
                </c:pt>
                <c:pt idx="873">
                  <c:v>6.2782741701379888E-2</c:v>
                </c:pt>
                <c:pt idx="874">
                  <c:v>6.3054261051724944E-2</c:v>
                </c:pt>
                <c:pt idx="875">
                  <c:v>6.3326875310947911E-2</c:v>
                </c:pt>
                <c:pt idx="876">
                  <c:v>6.3600588207037484E-2</c:v>
                </c:pt>
                <c:pt idx="877">
                  <c:v>6.3875403474697223E-2</c:v>
                </c:pt>
                <c:pt idx="878">
                  <c:v>6.4151324855301256E-2</c:v>
                </c:pt>
                <c:pt idx="879">
                  <c:v>6.4428356096849396E-2</c:v>
                </c:pt>
                <c:pt idx="880">
                  <c:v>6.4706500953921775E-2</c:v>
                </c:pt>
                <c:pt idx="881">
                  <c:v>6.4985763187632536E-2</c:v>
                </c:pt>
                <c:pt idx="882">
                  <c:v>6.5266146565583133E-2</c:v>
                </c:pt>
                <c:pt idx="883">
                  <c:v>6.5547654861814755E-2</c:v>
                </c:pt>
                <c:pt idx="884">
                  <c:v>6.5830291856760342E-2</c:v>
                </c:pt>
                <c:pt idx="885">
                  <c:v>6.6114061337195593E-2</c:v>
                </c:pt>
                <c:pt idx="886">
                  <c:v>6.6398967096189629E-2</c:v>
                </c:pt>
                <c:pt idx="887">
                  <c:v>6.668501293305476E-2</c:v>
                </c:pt>
                <c:pt idx="888">
                  <c:v>6.6972202653295732E-2</c:v>
                </c:pt>
                <c:pt idx="889">
                  <c:v>6.7260540068558139E-2</c:v>
                </c:pt>
                <c:pt idx="890">
                  <c:v>6.7550028996576181E-2</c:v>
                </c:pt>
                <c:pt idx="891">
                  <c:v>6.7840673261119949E-2</c:v>
                </c:pt>
                <c:pt idx="892">
                  <c:v>6.8132476691941585E-2</c:v>
                </c:pt>
                <c:pt idx="893">
                  <c:v>6.8425443124721125E-2</c:v>
                </c:pt>
                <c:pt idx="894">
                  <c:v>6.8719576401011465E-2</c:v>
                </c:pt>
                <c:pt idx="895">
                  <c:v>6.901488036818261E-2</c:v>
                </c:pt>
                <c:pt idx="896">
                  <c:v>6.9311358879365306E-2</c:v>
                </c:pt>
                <c:pt idx="897">
                  <c:v>6.9609015793393778E-2</c:v>
                </c:pt>
                <c:pt idx="898">
                  <c:v>6.990785497474801E-2</c:v>
                </c:pt>
                <c:pt idx="899">
                  <c:v>7.0207880293495034E-2</c:v>
                </c:pt>
                <c:pt idx="900">
                  <c:v>7.0509095625229598E-2</c:v>
                </c:pt>
                <c:pt idx="901">
                  <c:v>7.0811504851014132E-2</c:v>
                </c:pt>
                <c:pt idx="902">
                  <c:v>7.1115111857317906E-2</c:v>
                </c:pt>
                <c:pt idx="903">
                  <c:v>7.14199205359555E-2</c:v>
                </c:pt>
                <c:pt idx="904">
                  <c:v>7.1725934784024573E-2</c:v>
                </c:pt>
                <c:pt idx="905">
                  <c:v>7.2033158503842606E-2</c:v>
                </c:pt>
                <c:pt idx="906">
                  <c:v>7.2341595602883307E-2</c:v>
                </c:pt>
                <c:pt idx="907">
                  <c:v>7.2651249993711906E-2</c:v>
                </c:pt>
                <c:pt idx="908">
                  <c:v>7.2962125593919874E-2</c:v>
                </c:pt>
                <c:pt idx="909">
                  <c:v>7.3274226326058775E-2</c:v>
                </c:pt>
                <c:pt idx="910">
                  <c:v>7.3587556117573491E-2</c:v>
                </c:pt>
                <c:pt idx="911">
                  <c:v>7.3902118900734379E-2</c:v>
                </c:pt>
                <c:pt idx="912">
                  <c:v>7.4217918612569003E-2</c:v>
                </c:pt>
                <c:pt idx="913">
                  <c:v>7.4534959194792805E-2</c:v>
                </c:pt>
                <c:pt idx="914">
                  <c:v>7.4853244593739127E-2</c:v>
                </c:pt>
                <c:pt idx="915">
                  <c:v>7.5172778760288425E-2</c:v>
                </c:pt>
                <c:pt idx="916">
                  <c:v>7.5493565649796548E-2</c:v>
                </c:pt>
                <c:pt idx="917">
                  <c:v>7.5815609222022559E-2</c:v>
                </c:pt>
                <c:pt idx="918">
                  <c:v>7.613891344105525E-2</c:v>
                </c:pt>
                <c:pt idx="919">
                  <c:v>7.6463482275239261E-2</c:v>
                </c:pt>
                <c:pt idx="920">
                  <c:v>7.6789319697100206E-2</c:v>
                </c:pt>
                <c:pt idx="921">
                  <c:v>7.7116429683269039E-2</c:v>
                </c:pt>
                <c:pt idx="922">
                  <c:v>7.7444816214405521E-2</c:v>
                </c:pt>
                <c:pt idx="923">
                  <c:v>7.7774483275120918E-2</c:v>
                </c:pt>
                <c:pt idx="924">
                  <c:v>7.8105434853899952E-2</c:v>
                </c:pt>
                <c:pt idx="925">
                  <c:v>7.8437674943021687E-2</c:v>
                </c:pt>
                <c:pt idx="926">
                  <c:v>7.8771207538479784E-2</c:v>
                </c:pt>
                <c:pt idx="927">
                  <c:v>7.9106036639901844E-2</c:v>
                </c:pt>
                <c:pt idx="928">
                  <c:v>7.9442166250467919E-2</c:v>
                </c:pt>
                <c:pt idx="929">
                  <c:v>7.9779600376828075E-2</c:v>
                </c:pt>
                <c:pt idx="930">
                  <c:v>8.0118343029019282E-2</c:v>
                </c:pt>
                <c:pt idx="931">
                  <c:v>8.0458398220381394E-2</c:v>
                </c:pt>
                <c:pt idx="932">
                  <c:v>8.0799769967472027E-2</c:v>
                </c:pt>
                <c:pt idx="933">
                  <c:v>8.1142462289980913E-2</c:v>
                </c:pt>
                <c:pt idx="934">
                  <c:v>8.1486479210643226E-2</c:v>
                </c:pt>
                <c:pt idx="935">
                  <c:v>8.1831824755151994E-2</c:v>
                </c:pt>
                <c:pt idx="936">
                  <c:v>8.2178502952069715E-2</c:v>
                </c:pt>
                <c:pt idx="937">
                  <c:v>8.2526517832739066E-2</c:v>
                </c:pt>
                <c:pt idx="938">
                  <c:v>8.2875873431192765E-2</c:v>
                </c:pt>
                <c:pt idx="939">
                  <c:v>8.3226573784062396E-2</c:v>
                </c:pt>
                <c:pt idx="940">
                  <c:v>8.357862293048654E-2</c:v>
                </c:pt>
                <c:pt idx="941">
                  <c:v>8.3932024912017872E-2</c:v>
                </c:pt>
                <c:pt idx="942">
                  <c:v>8.4286783772529433E-2</c:v>
                </c:pt>
                <c:pt idx="943">
                  <c:v>8.4642903558119958E-2</c:v>
                </c:pt>
                <c:pt idx="944">
                  <c:v>8.500038831701838E-2</c:v>
                </c:pt>
                <c:pt idx="945">
                  <c:v>8.5359242099487254E-2</c:v>
                </c:pt>
                <c:pt idx="946">
                  <c:v>8.571946895772542E-2</c:v>
                </c:pt>
                <c:pt idx="947">
                  <c:v>8.6081072945769679E-2</c:v>
                </c:pt>
                <c:pt idx="948">
                  <c:v>8.6444058119395636E-2</c:v>
                </c:pt>
                <c:pt idx="949">
                  <c:v>8.6808428536017446E-2</c:v>
                </c:pt>
                <c:pt idx="950">
                  <c:v>8.7174188254586824E-2</c:v>
                </c:pt>
                <c:pt idx="951">
                  <c:v>8.7541341335491088E-2</c:v>
                </c:pt>
                <c:pt idx="952">
                  <c:v>8.7909891840450047E-2</c:v>
                </c:pt>
                <c:pt idx="953">
                  <c:v>8.8279843832412289E-2</c:v>
                </c:pt>
                <c:pt idx="954">
                  <c:v>8.8651201375450295E-2</c:v>
                </c:pt>
                <c:pt idx="955">
                  <c:v>8.9023968534654704E-2</c:v>
                </c:pt>
                <c:pt idx="956">
                  <c:v>8.9398149376027594E-2</c:v>
                </c:pt>
                <c:pt idx="957">
                  <c:v>8.9773747966374801E-2</c:v>
                </c:pt>
                <c:pt idx="958">
                  <c:v>9.0150768373197465E-2</c:v>
                </c:pt>
                <c:pt idx="959">
                  <c:v>9.0529214664582219E-2</c:v>
                </c:pt>
                <c:pt idx="960">
                  <c:v>9.0909090909090912E-2</c:v>
                </c:pt>
                <c:pt idx="961">
                  <c:v>9.1290401175648878E-2</c:v>
                </c:pt>
                <c:pt idx="962">
                  <c:v>9.1673149533432793E-2</c:v>
                </c:pt>
                <c:pt idx="963">
                  <c:v>9.2057340051756975E-2</c:v>
                </c:pt>
                <c:pt idx="964">
                  <c:v>9.2442976799959165E-2</c:v>
                </c:pt>
                <c:pt idx="965">
                  <c:v>9.2830063847285191E-2</c:v>
                </c:pt>
                <c:pt idx="966">
                  <c:v>9.3218605262772494E-2</c:v>
                </c:pt>
                <c:pt idx="967">
                  <c:v>9.3608605115132915E-2</c:v>
                </c:pt>
                <c:pt idx="968">
                  <c:v>9.4000067472634383E-2</c:v>
                </c:pt>
                <c:pt idx="969">
                  <c:v>9.4392996402981683E-2</c:v>
                </c:pt>
                <c:pt idx="970">
                  <c:v>9.4787395973196117E-2</c:v>
                </c:pt>
                <c:pt idx="971">
                  <c:v>9.5183270249494245E-2</c:v>
                </c:pt>
                <c:pt idx="972">
                  <c:v>9.5580623297165851E-2</c:v>
                </c:pt>
                <c:pt idx="973">
                  <c:v>9.5979459180450394E-2</c:v>
                </c:pt>
                <c:pt idx="974">
                  <c:v>9.6379781962412994E-2</c:v>
                </c:pt>
                <c:pt idx="975">
                  <c:v>9.6781595704819173E-2</c:v>
                </c:pt>
                <c:pt idx="976">
                  <c:v>9.7184904468008496E-2</c:v>
                </c:pt>
                <c:pt idx="977">
                  <c:v>9.7589712310767573E-2</c:v>
                </c:pt>
                <c:pt idx="978">
                  <c:v>9.7996023290201559E-2</c:v>
                </c:pt>
                <c:pt idx="979">
                  <c:v>9.840384146160519E-2</c:v>
                </c:pt>
                <c:pt idx="980">
                  <c:v>9.8813170878332288E-2</c:v>
                </c:pt>
                <c:pt idx="981">
                  <c:v>9.9224015591664605E-2</c:v>
                </c:pt>
                <c:pt idx="982">
                  <c:v>9.9636379650679591E-2</c:v>
                </c:pt>
                <c:pt idx="983">
                  <c:v>0.10005026710211702</c:v>
                </c:pt>
                <c:pt idx="984">
                  <c:v>0.10046568199024471</c:v>
                </c:pt>
                <c:pt idx="985">
                  <c:v>0.10088262835672331</c:v>
                </c:pt>
                <c:pt idx="986">
                  <c:v>0.10130111024046977</c:v>
                </c:pt>
                <c:pt idx="987">
                  <c:v>0.10172113167752012</c:v>
                </c:pt>
                <c:pt idx="988">
                  <c:v>0.10214269670089103</c:v>
                </c:pt>
                <c:pt idx="989">
                  <c:v>0.10256580934044041</c:v>
                </c:pt>
                <c:pt idx="990">
                  <c:v>0.10299047362272698</c:v>
                </c:pt>
                <c:pt idx="991">
                  <c:v>0.10341669357086877</c:v>
                </c:pt>
                <c:pt idx="992">
                  <c:v>0.10384447320440084</c:v>
                </c:pt>
                <c:pt idx="993">
                  <c:v>0.10427381653913141</c:v>
                </c:pt>
                <c:pt idx="994">
                  <c:v>0.10470472758699753</c:v>
                </c:pt>
                <c:pt idx="995">
                  <c:v>0.10513721035591962</c:v>
                </c:pt>
                <c:pt idx="996">
                  <c:v>0.10557126884965452</c:v>
                </c:pt>
                <c:pt idx="997">
                  <c:v>0.1060069070676482</c:v>
                </c:pt>
                <c:pt idx="998">
                  <c:v>0.10644412900488683</c:v>
                </c:pt>
                <c:pt idx="999">
                  <c:v>0.10688293865174718</c:v>
                </c:pt>
                <c:pt idx="1000">
                  <c:v>0.10732333999384593</c:v>
                </c:pt>
                <c:pt idx="1001">
                  <c:v>0.1077653370118877</c:v>
                </c:pt>
                <c:pt idx="1002">
                  <c:v>0.10820893368151253</c:v>
                </c:pt>
                <c:pt idx="1003">
                  <c:v>0.10865413397314173</c:v>
                </c:pt>
                <c:pt idx="1004">
                  <c:v>0.10910094185182317</c:v>
                </c:pt>
                <c:pt idx="1005">
                  <c:v>0.10954936127707525</c:v>
                </c:pt>
                <c:pt idx="1006">
                  <c:v>0.10999939620273004</c:v>
                </c:pt>
                <c:pt idx="1007">
                  <c:v>0.11045105057677521</c:v>
                </c:pt>
                <c:pt idx="1008">
                  <c:v>0.11090432834119494</c:v>
                </c:pt>
                <c:pt idx="1009">
                  <c:v>0.11135923343181016</c:v>
                </c:pt>
                <c:pt idx="1010">
                  <c:v>0.11181576977811693</c:v>
                </c:pt>
                <c:pt idx="1011">
                  <c:v>0.11227394130312468</c:v>
                </c:pt>
                <c:pt idx="1012">
                  <c:v>0.11273375192319289</c:v>
                </c:pt>
                <c:pt idx="1013">
                  <c:v>0.11319520554786694</c:v>
                </c:pt>
                <c:pt idx="1014">
                  <c:v>0.11365830607971265</c:v>
                </c:pt>
                <c:pt idx="1015">
                  <c:v>0.11412305741415045</c:v>
                </c:pt>
                <c:pt idx="1016">
                  <c:v>0.11458946343928747</c:v>
                </c:pt>
                <c:pt idx="1017">
                  <c:v>0.11505752803574959</c:v>
                </c:pt>
                <c:pt idx="1018">
                  <c:v>0.11552725507651197</c:v>
                </c:pt>
                <c:pt idx="1019">
                  <c:v>0.11599864842672858</c:v>
                </c:pt>
                <c:pt idx="1020">
                  <c:v>0.11647171194356075</c:v>
                </c:pt>
                <c:pt idx="1021">
                  <c:v>0.11694644947600469</c:v>
                </c:pt>
                <c:pt idx="1022">
                  <c:v>0.11742286486471822</c:v>
                </c:pt>
                <c:pt idx="1023">
                  <c:v>0.11790096194184581</c:v>
                </c:pt>
                <c:pt idx="1024">
                  <c:v>0.11838074453084341</c:v>
                </c:pt>
                <c:pt idx="1025">
                  <c:v>0.11886221644630171</c:v>
                </c:pt>
                <c:pt idx="1026">
                  <c:v>0.11934538149376853</c:v>
                </c:pt>
                <c:pt idx="1027">
                  <c:v>0.11983024346957032</c:v>
                </c:pt>
                <c:pt idx="1028">
                  <c:v>0.12031680616063239</c:v>
                </c:pt>
                <c:pt idx="1029">
                  <c:v>0.12080507334429837</c:v>
                </c:pt>
                <c:pt idx="1030">
                  <c:v>0.12129504878814851</c:v>
                </c:pt>
                <c:pt idx="1031">
                  <c:v>0.1217867362498171</c:v>
                </c:pt>
                <c:pt idx="1032">
                  <c:v>0.12228013947680864</c:v>
                </c:pt>
                <c:pt idx="1033">
                  <c:v>0.12277526220631328</c:v>
                </c:pt>
                <c:pt idx="1034">
                  <c:v>0.12327210816502109</c:v>
                </c:pt>
                <c:pt idx="1035">
                  <c:v>0.12377068106893543</c:v>
                </c:pt>
                <c:pt idx="1036">
                  <c:v>0.12427098462318516</c:v>
                </c:pt>
                <c:pt idx="1037">
                  <c:v>0.12477302252183614</c:v>
                </c:pt>
                <c:pt idx="1038">
                  <c:v>0.12527679844770148</c:v>
                </c:pt>
                <c:pt idx="1039">
                  <c:v>0.12578231607215073</c:v>
                </c:pt>
                <c:pt idx="1040">
                  <c:v>0.12628957905491861</c:v>
                </c:pt>
                <c:pt idx="1041">
                  <c:v>0.12679859104391206</c:v>
                </c:pt>
                <c:pt idx="1042">
                  <c:v>0.12730935567501675</c:v>
                </c:pt>
                <c:pt idx="1043">
                  <c:v>0.12782187657190264</c:v>
                </c:pt>
                <c:pt idx="1044">
                  <c:v>0.12833615734582832</c:v>
                </c:pt>
                <c:pt idx="1045">
                  <c:v>0.12885220159544444</c:v>
                </c:pt>
                <c:pt idx="1046">
                  <c:v>0.12937001290659653</c:v>
                </c:pt>
                <c:pt idx="1047">
                  <c:v>0.12988959485212612</c:v>
                </c:pt>
                <c:pt idx="1048">
                  <c:v>0.13041095099167196</c:v>
                </c:pt>
                <c:pt idx="1049">
                  <c:v>0.13093408487146918</c:v>
                </c:pt>
                <c:pt idx="1050">
                  <c:v>0.13145900002414826</c:v>
                </c:pt>
                <c:pt idx="1051">
                  <c:v>0.13198569996853285</c:v>
                </c:pt>
                <c:pt idx="1052">
                  <c:v>0.13251418820943656</c:v>
                </c:pt>
                <c:pt idx="1053">
                  <c:v>0.13304446823745888</c:v>
                </c:pt>
                <c:pt idx="1054">
                  <c:v>0.13357654352878021</c:v>
                </c:pt>
                <c:pt idx="1055">
                  <c:v>0.13411041754495609</c:v>
                </c:pt>
                <c:pt idx="1056">
                  <c:v>0.13464609373271016</c:v>
                </c:pt>
                <c:pt idx="1057">
                  <c:v>0.13518357552372651</c:v>
                </c:pt>
                <c:pt idx="1058">
                  <c:v>0.13572286633444114</c:v>
                </c:pt>
                <c:pt idx="1059">
                  <c:v>0.13626396956583223</c:v>
                </c:pt>
                <c:pt idx="1060">
                  <c:v>0.13680688860320997</c:v>
                </c:pt>
                <c:pt idx="1061">
                  <c:v>0.13735162681600507</c:v>
                </c:pt>
                <c:pt idx="1062">
                  <c:v>0.13789818755755673</c:v>
                </c:pt>
                <c:pt idx="1063">
                  <c:v>0.13844657416489931</c:v>
                </c:pt>
                <c:pt idx="1064">
                  <c:v>0.13899678995854886</c:v>
                </c:pt>
                <c:pt idx="1065">
                  <c:v>0.13954883824228792</c:v>
                </c:pt>
                <c:pt idx="1066">
                  <c:v>0.14010272230295009</c:v>
                </c:pt>
                <c:pt idx="1067">
                  <c:v>0.14065844541020356</c:v>
                </c:pt>
                <c:pt idx="1068">
                  <c:v>0.14121601081633381</c:v>
                </c:pt>
                <c:pt idx="1069">
                  <c:v>0.14177542175602539</c:v>
                </c:pt>
                <c:pt idx="1070">
                  <c:v>0.14233668144614303</c:v>
                </c:pt>
                <c:pt idx="1071">
                  <c:v>0.1428997930855119</c:v>
                </c:pt>
                <c:pt idx="1072">
                  <c:v>0.14346475985469689</c:v>
                </c:pt>
                <c:pt idx="1073">
                  <c:v>0.14403158491578136</c:v>
                </c:pt>
                <c:pt idx="1074">
                  <c:v>0.14460027141214488</c:v>
                </c:pt>
                <c:pt idx="1075">
                  <c:v>0.14517082246824042</c:v>
                </c:pt>
                <c:pt idx="1076">
                  <c:v>0.14574324118937038</c:v>
                </c:pt>
                <c:pt idx="1077">
                  <c:v>0.14631753066146236</c:v>
                </c:pt>
                <c:pt idx="1078">
                  <c:v>0.14689369395084367</c:v>
                </c:pt>
                <c:pt idx="1079">
                  <c:v>0.14747173410401557</c:v>
                </c:pt>
                <c:pt idx="1080">
                  <c:v>0.14805165414742619</c:v>
                </c:pt>
                <c:pt idx="1081">
                  <c:v>0.14863345708724349</c:v>
                </c:pt>
                <c:pt idx="1082">
                  <c:v>0.14921714590912666</c:v>
                </c:pt>
                <c:pt idx="1083">
                  <c:v>0.14980272357799748</c:v>
                </c:pt>
                <c:pt idx="1084">
                  <c:v>0.15039019303781059</c:v>
                </c:pt>
                <c:pt idx="1085">
                  <c:v>0.15097955721132328</c:v>
                </c:pt>
                <c:pt idx="1086">
                  <c:v>0.15157081899986438</c:v>
                </c:pt>
                <c:pt idx="1087">
                  <c:v>0.15216398128310266</c:v>
                </c:pt>
                <c:pt idx="1088">
                  <c:v>0.15275904691881467</c:v>
                </c:pt>
                <c:pt idx="1089">
                  <c:v>0.15335601874265145</c:v>
                </c:pt>
                <c:pt idx="1090">
                  <c:v>0.15395489956790523</c:v>
                </c:pt>
                <c:pt idx="1091">
                  <c:v>0.15455569218527501</c:v>
                </c:pt>
                <c:pt idx="1092">
                  <c:v>0.15515839936263173</c:v>
                </c:pt>
                <c:pt idx="1093">
                  <c:v>0.15576302384478291</c:v>
                </c:pt>
                <c:pt idx="1094">
                  <c:v>0.15636956835323634</c:v>
                </c:pt>
                <c:pt idx="1095">
                  <c:v>0.15697803558596379</c:v>
                </c:pt>
                <c:pt idx="1096">
                  <c:v>0.15758842821716348</c:v>
                </c:pt>
                <c:pt idx="1097">
                  <c:v>0.15820074889702229</c:v>
                </c:pt>
                <c:pt idx="1098">
                  <c:v>0.15881500025147777</c:v>
                </c:pt>
                <c:pt idx="1099">
                  <c:v>0.1594311848819788</c:v>
                </c:pt>
                <c:pt idx="1100">
                  <c:v>0.16004930536524653</c:v>
                </c:pt>
                <c:pt idx="1101">
                  <c:v>0.16066936425303435</c:v>
                </c:pt>
                <c:pt idx="1102">
                  <c:v>0.16129136407188746</c:v>
                </c:pt>
                <c:pt idx="1103">
                  <c:v>0.16191530732290191</c:v>
                </c:pt>
                <c:pt idx="1104">
                  <c:v>0.16254119648148338</c:v>
                </c:pt>
                <c:pt idx="1105">
                  <c:v>0.16316903399710525</c:v>
                </c:pt>
                <c:pt idx="1106">
                  <c:v>0.16379882229306628</c:v>
                </c:pt>
                <c:pt idx="1107">
                  <c:v>0.16443056376624787</c:v>
                </c:pt>
                <c:pt idx="1108">
                  <c:v>0.165064260786871</c:v>
                </c:pt>
                <c:pt idx="1109">
                  <c:v>0.16569991569825268</c:v>
                </c:pt>
                <c:pt idx="1110">
                  <c:v>0.16633753081656188</c:v>
                </c:pt>
                <c:pt idx="1111">
                  <c:v>0.16697710843057534</c:v>
                </c:pt>
                <c:pt idx="1112">
                  <c:v>0.16761865080143273</c:v>
                </c:pt>
                <c:pt idx="1113">
                  <c:v>0.16826216016239179</c:v>
                </c:pt>
                <c:pt idx="1114">
                  <c:v>0.16890763871858275</c:v>
                </c:pt>
                <c:pt idx="1115">
                  <c:v>0.16955508864676277</c:v>
                </c:pt>
                <c:pt idx="1116">
                  <c:v>0.17020451209506995</c:v>
                </c:pt>
                <c:pt idx="1117">
                  <c:v>0.17085591118277677</c:v>
                </c:pt>
                <c:pt idx="1118">
                  <c:v>0.17150928800004392</c:v>
                </c:pt>
                <c:pt idx="1119">
                  <c:v>0.17216464460767322</c:v>
                </c:pt>
                <c:pt idx="1120">
                  <c:v>0.17282198303686044</c:v>
                </c:pt>
                <c:pt idx="1121">
                  <c:v>0.17348130528894817</c:v>
                </c:pt>
                <c:pt idx="1122">
                  <c:v>0.17414261333517836</c:v>
                </c:pt>
                <c:pt idx="1123">
                  <c:v>0.17480590911644442</c:v>
                </c:pt>
                <c:pt idx="1124">
                  <c:v>0.17547119454304325</c:v>
                </c:pt>
                <c:pt idx="1125">
                  <c:v>0.17613847149442757</c:v>
                </c:pt>
                <c:pt idx="1126">
                  <c:v>0.17680774181895734</c:v>
                </c:pt>
                <c:pt idx="1127">
                  <c:v>0.17747900733365146</c:v>
                </c:pt>
                <c:pt idx="1128">
                  <c:v>0.1781522698239395</c:v>
                </c:pt>
                <c:pt idx="1129">
                  <c:v>0.17882753104341301</c:v>
                </c:pt>
                <c:pt idx="1130">
                  <c:v>0.17950479271357694</c:v>
                </c:pt>
                <c:pt idx="1131">
                  <c:v>0.18018405652360092</c:v>
                </c:pt>
                <c:pt idx="1132">
                  <c:v>0.18086532413007061</c:v>
                </c:pt>
                <c:pt idx="1133">
                  <c:v>0.18154859715673885</c:v>
                </c:pt>
                <c:pt idx="1134">
                  <c:v>0.18223387719427686</c:v>
                </c:pt>
                <c:pt idx="1135">
                  <c:v>0.18292116580002576</c:v>
                </c:pt>
                <c:pt idx="1136">
                  <c:v>0.18361046449774746</c:v>
                </c:pt>
                <c:pt idx="1137">
                  <c:v>0.1843017747773763</c:v>
                </c:pt>
                <c:pt idx="1138">
                  <c:v>0.18499509809477027</c:v>
                </c:pt>
                <c:pt idx="1139">
                  <c:v>0.18569043587146258</c:v>
                </c:pt>
                <c:pt idx="1140">
                  <c:v>0.18638778949441326</c:v>
                </c:pt>
                <c:pt idx="1141">
                  <c:v>0.18708716031576067</c:v>
                </c:pt>
                <c:pt idx="1142">
                  <c:v>0.18778854965257372</c:v>
                </c:pt>
                <c:pt idx="1143">
                  <c:v>0.18849195878660355</c:v>
                </c:pt>
                <c:pt idx="1144">
                  <c:v>0.18919738896403585</c:v>
                </c:pt>
                <c:pt idx="1145">
                  <c:v>0.1899048413952433</c:v>
                </c:pt>
                <c:pt idx="1146">
                  <c:v>0.19061431725453823</c:v>
                </c:pt>
                <c:pt idx="1147">
                  <c:v>0.19132581767992538</c:v>
                </c:pt>
                <c:pt idx="1148">
                  <c:v>0.192039343772855</c:v>
                </c:pt>
                <c:pt idx="1149">
                  <c:v>0.19275489659797659</c:v>
                </c:pt>
                <c:pt idx="1150">
                  <c:v>0.19347247718289212</c:v>
                </c:pt>
                <c:pt idx="1151">
                  <c:v>0.19419208651791048</c:v>
                </c:pt>
                <c:pt idx="1152">
                  <c:v>0.1949137255558018</c:v>
                </c:pt>
                <c:pt idx="1153">
                  <c:v>0.19563739521155199</c:v>
                </c:pt>
                <c:pt idx="1154">
                  <c:v>0.19636309636211816</c:v>
                </c:pt>
                <c:pt idx="1155">
                  <c:v>0.19709082984618406</c:v>
                </c:pt>
                <c:pt idx="1156">
                  <c:v>0.19782059646391614</c:v>
                </c:pt>
                <c:pt idx="1157">
                  <c:v>0.19855239697671992</c:v>
                </c:pt>
                <c:pt idx="1158">
                  <c:v>0.19928623210699684</c:v>
                </c:pt>
                <c:pt idx="1159">
                  <c:v>0.20002210253790201</c:v>
                </c:pt>
                <c:pt idx="1160">
                  <c:v>0.20076000891310175</c:v>
                </c:pt>
                <c:pt idx="1161">
                  <c:v>0.20149995183653235</c:v>
                </c:pt>
                <c:pt idx="1162">
                  <c:v>0.202241931872159</c:v>
                </c:pt>
                <c:pt idx="1163">
                  <c:v>0.20298594954373547</c:v>
                </c:pt>
                <c:pt idx="1164">
                  <c:v>0.20373200533456434</c:v>
                </c:pt>
                <c:pt idx="1165">
                  <c:v>0.20448009968725786</c:v>
                </c:pt>
                <c:pt idx="1166">
                  <c:v>0.20523023300349966</c:v>
                </c:pt>
                <c:pt idx="1167">
                  <c:v>0.20598240564380652</c:v>
                </c:pt>
                <c:pt idx="1168">
                  <c:v>0.20673661792729181</c:v>
                </c:pt>
                <c:pt idx="1169">
                  <c:v>0.20749287013142895</c:v>
                </c:pt>
                <c:pt idx="1170">
                  <c:v>0.20825116249181555</c:v>
                </c:pt>
                <c:pt idx="1171">
                  <c:v>0.2090114952019389</c:v>
                </c:pt>
                <c:pt idx="1172">
                  <c:v>0.20977386841294188</c:v>
                </c:pt>
                <c:pt idx="1173">
                  <c:v>0.21053828223338958</c:v>
                </c:pt>
                <c:pt idx="1174">
                  <c:v>0.2113047367290371</c:v>
                </c:pt>
                <c:pt idx="1175">
                  <c:v>0.21207323192259786</c:v>
                </c:pt>
                <c:pt idx="1176">
                  <c:v>0.21284376779351327</c:v>
                </c:pt>
                <c:pt idx="1177">
                  <c:v>0.21361634427772278</c:v>
                </c:pt>
                <c:pt idx="1178">
                  <c:v>0.21439096126743515</c:v>
                </c:pt>
                <c:pt idx="1179">
                  <c:v>0.2151676186109007</c:v>
                </c:pt>
                <c:pt idx="1180">
                  <c:v>0.21594631611218493</c:v>
                </c:pt>
                <c:pt idx="1181">
                  <c:v>0.21672705353094182</c:v>
                </c:pt>
                <c:pt idx="1182">
                  <c:v>0.21750983058218995</c:v>
                </c:pt>
                <c:pt idx="1183">
                  <c:v>0.21829464693608844</c:v>
                </c:pt>
                <c:pt idx="1184">
                  <c:v>0.21908150221771441</c:v>
                </c:pt>
                <c:pt idx="1185">
                  <c:v>0.2198703960068415</c:v>
                </c:pt>
                <c:pt idx="1186">
                  <c:v>0.22066132783771963</c:v>
                </c:pt>
                <c:pt idx="1187">
                  <c:v>0.22145429719885579</c:v>
                </c:pt>
                <c:pt idx="1188">
                  <c:v>0.22224930353279604</c:v>
                </c:pt>
                <c:pt idx="1189">
                  <c:v>0.22304634623590872</c:v>
                </c:pt>
                <c:pt idx="1190">
                  <c:v>0.22384542465816923</c:v>
                </c:pt>
                <c:pt idx="1191">
                  <c:v>0.22464653810294533</c:v>
                </c:pt>
                <c:pt idx="1192">
                  <c:v>0.22544968582678451</c:v>
                </c:pt>
                <c:pt idx="1193">
                  <c:v>0.22625486703920236</c:v>
                </c:pt>
                <c:pt idx="1194">
                  <c:v>0.22706208090247221</c:v>
                </c:pt>
                <c:pt idx="1195">
                  <c:v>0.22787132653141612</c:v>
                </c:pt>
                <c:pt idx="1196">
                  <c:v>0.22868260299319765</c:v>
                </c:pt>
                <c:pt idx="1197">
                  <c:v>0.22949590930711544</c:v>
                </c:pt>
                <c:pt idx="1198">
                  <c:v>0.23031124444439899</c:v>
                </c:pt>
                <c:pt idx="1199">
                  <c:v>0.23112860732800491</c:v>
                </c:pt>
                <c:pt idx="1200">
                  <c:v>0.23194799683241596</c:v>
                </c:pt>
                <c:pt idx="1201">
                  <c:v>0.23276941178344046</c:v>
                </c:pt>
                <c:pt idx="1202">
                  <c:v>0.23359285095801366</c:v>
                </c:pt>
                <c:pt idx="1203">
                  <c:v>0.23441831308400127</c:v>
                </c:pt>
                <c:pt idx="1204">
                  <c:v>0.23524579684000338</c:v>
                </c:pt>
                <c:pt idx="1205">
                  <c:v>0.23607530085516132</c:v>
                </c:pt>
                <c:pt idx="1206">
                  <c:v>0.23690682370896529</c:v>
                </c:pt>
                <c:pt idx="1207">
                  <c:v>0.23774036393106396</c:v>
                </c:pt>
                <c:pt idx="1208">
                  <c:v>0.23857592000107575</c:v>
                </c:pt>
                <c:pt idx="1209">
                  <c:v>0.23941349034840212</c:v>
                </c:pt>
                <c:pt idx="1210">
                  <c:v>0.2402530733520421</c:v>
                </c:pt>
                <c:pt idx="1211">
                  <c:v>0.24109466734040924</c:v>
                </c:pt>
                <c:pt idx="1212">
                  <c:v>0.24193827059114958</c:v>
                </c:pt>
                <c:pt idx="1213">
                  <c:v>0.24278388133096251</c:v>
                </c:pt>
                <c:pt idx="1214">
                  <c:v>0.24363149773542245</c:v>
                </c:pt>
                <c:pt idx="1215">
                  <c:v>0.24448111792880314</c:v>
                </c:pt>
                <c:pt idx="1216">
                  <c:v>0.24533273998390362</c:v>
                </c:pt>
                <c:pt idx="1217">
                  <c:v>0.24618636192187618</c:v>
                </c:pt>
                <c:pt idx="1218">
                  <c:v>0.24704198171205621</c:v>
                </c:pt>
                <c:pt idx="1219">
                  <c:v>0.247899597271794</c:v>
                </c:pt>
                <c:pt idx="1220">
                  <c:v>0.2487592064662893</c:v>
                </c:pt>
                <c:pt idx="1221">
                  <c:v>0.24962080710842652</c:v>
                </c:pt>
                <c:pt idx="1222">
                  <c:v>0.25048439695861335</c:v>
                </c:pt>
                <c:pt idx="1223">
                  <c:v>0.25134997372462103</c:v>
                </c:pt>
                <c:pt idx="1224">
                  <c:v>0.25221753506142647</c:v>
                </c:pt>
                <c:pt idx="1225">
                  <c:v>0.25308707857105678</c:v>
                </c:pt>
                <c:pt idx="1226">
                  <c:v>0.25395860180243623</c:v>
                </c:pt>
                <c:pt idx="1227">
                  <c:v>0.25483210225123498</c:v>
                </c:pt>
                <c:pt idx="1228">
                  <c:v>0.25570757735972055</c:v>
                </c:pt>
                <c:pt idx="1229">
                  <c:v>0.2565850245166108</c:v>
                </c:pt>
                <c:pt idx="1230">
                  <c:v>0.25746444105693017</c:v>
                </c:pt>
                <c:pt idx="1231">
                  <c:v>0.25834582426186747</c:v>
                </c:pt>
                <c:pt idx="1232">
                  <c:v>0.25922917135863655</c:v>
                </c:pt>
                <c:pt idx="1233">
                  <c:v>0.26011447952033884</c:v>
                </c:pt>
                <c:pt idx="1234">
                  <c:v>0.26100174586582869</c:v>
                </c:pt>
                <c:pt idx="1235">
                  <c:v>0.26189096745958135</c:v>
                </c:pt>
                <c:pt idx="1236">
                  <c:v>0.2627821413115623</c:v>
                </c:pt>
                <c:pt idx="1237">
                  <c:v>0.26367526437710065</c:v>
                </c:pt>
                <c:pt idx="1238">
                  <c:v>0.26457033355676357</c:v>
                </c:pt>
                <c:pt idx="1239">
                  <c:v>0.26546734569623442</c:v>
                </c:pt>
                <c:pt idx="1240">
                  <c:v>0.26636629758619262</c:v>
                </c:pt>
                <c:pt idx="1241">
                  <c:v>0.26726718596219629</c:v>
                </c:pt>
                <c:pt idx="1242">
                  <c:v>0.2681700075045681</c:v>
                </c:pt>
                <c:pt idx="1243">
                  <c:v>0.26907475883828275</c:v>
                </c:pt>
                <c:pt idx="1244">
                  <c:v>0.26998143653285789</c:v>
                </c:pt>
                <c:pt idx="1245">
                  <c:v>0.27089003710224746</c:v>
                </c:pt>
                <c:pt idx="1246">
                  <c:v>0.27180055700473754</c:v>
                </c:pt>
                <c:pt idx="1247">
                  <c:v>0.27271299264284532</c:v>
                </c:pt>
                <c:pt idx="1248">
                  <c:v>0.27362734036322056</c:v>
                </c:pt>
                <c:pt idx="1249">
                  <c:v>0.27454359645654991</c:v>
                </c:pt>
                <c:pt idx="1250">
                  <c:v>0.2754617571574639</c:v>
                </c:pt>
                <c:pt idx="1251">
                  <c:v>0.27638181864444716</c:v>
                </c:pt>
                <c:pt idx="1252">
                  <c:v>0.2773037770397509</c:v>
                </c:pt>
                <c:pt idx="1253">
                  <c:v>0.27822762840930881</c:v>
                </c:pt>
                <c:pt idx="1254">
                  <c:v>0.27915336876265551</c:v>
                </c:pt>
                <c:pt idx="1255">
                  <c:v>0.28008099405284809</c:v>
                </c:pt>
                <c:pt idx="1256">
                  <c:v>0.28101050017639057</c:v>
                </c:pt>
                <c:pt idx="1257">
                  <c:v>0.28194188297316136</c:v>
                </c:pt>
                <c:pt idx="1258">
                  <c:v>0.28287513822634347</c:v>
                </c:pt>
                <c:pt idx="1259">
                  <c:v>0.28381026166235818</c:v>
                </c:pt>
                <c:pt idx="1260">
                  <c:v>0.28474724895080139</c:v>
                </c:pt>
                <c:pt idx="1261">
                  <c:v>0.28568609570438303</c:v>
                </c:pt>
                <c:pt idx="1262">
                  <c:v>0.28662679747886988</c:v>
                </c:pt>
                <c:pt idx="1263">
                  <c:v>0.28756934977303117</c:v>
                </c:pt>
                <c:pt idx="1264">
                  <c:v>0.28851374802858731</c:v>
                </c:pt>
                <c:pt idx="1265">
                  <c:v>0.28945998763016217</c:v>
                </c:pt>
                <c:pt idx="1266">
                  <c:v>0.29040806390523799</c:v>
                </c:pt>
                <c:pt idx="1267">
                  <c:v>0.29135797212411368</c:v>
                </c:pt>
                <c:pt idx="1268">
                  <c:v>0.29230970749986668</c:v>
                </c:pt>
                <c:pt idx="1269">
                  <c:v>0.29326326518831736</c:v>
                </c:pt>
                <c:pt idx="1270">
                  <c:v>0.29421864028799749</c:v>
                </c:pt>
                <c:pt idx="1271">
                  <c:v>0.29517582784012109</c:v>
                </c:pt>
                <c:pt idx="1272">
                  <c:v>0.29613482282855952</c:v>
                </c:pt>
                <c:pt idx="1273">
                  <c:v>0.29709562017981894</c:v>
                </c:pt>
                <c:pt idx="1274">
                  <c:v>0.29805821476302197</c:v>
                </c:pt>
                <c:pt idx="1275">
                  <c:v>0.29902260138989206</c:v>
                </c:pt>
                <c:pt idx="1276">
                  <c:v>0.2999887748147414</c:v>
                </c:pt>
                <c:pt idx="1277">
                  <c:v>0.30095672973446258</c:v>
                </c:pt>
                <c:pt idx="1278">
                  <c:v>0.3019264607885232</c:v>
                </c:pt>
                <c:pt idx="1279">
                  <c:v>0.30289796255896384</c:v>
                </c:pt>
                <c:pt idx="1280">
                  <c:v>0.30387122957040019</c:v>
                </c:pt>
                <c:pt idx="1281">
                  <c:v>0.30484625629002771</c:v>
                </c:pt>
                <c:pt idx="1282">
                  <c:v>0.30582303712763043</c:v>
                </c:pt>
                <c:pt idx="1283">
                  <c:v>0.30680156643559314</c:v>
                </c:pt>
                <c:pt idx="1284">
                  <c:v>0.30778183850891655</c:v>
                </c:pt>
                <c:pt idx="1285">
                  <c:v>0.30876384758523701</c:v>
                </c:pt>
                <c:pt idx="1286">
                  <c:v>0.30974758784484852</c:v>
                </c:pt>
                <c:pt idx="1287">
                  <c:v>0.31073305341072949</c:v>
                </c:pt>
                <c:pt idx="1288">
                  <c:v>0.31172023834857249</c:v>
                </c:pt>
                <c:pt idx="1289">
                  <c:v>0.31270913666681704</c:v>
                </c:pt>
                <c:pt idx="1290">
                  <c:v>0.31369974231668751</c:v>
                </c:pt>
                <c:pt idx="1291">
                  <c:v>0.31469204919223304</c:v>
                </c:pt>
                <c:pt idx="1292">
                  <c:v>0.31568605113037213</c:v>
                </c:pt>
                <c:pt idx="1293">
                  <c:v>0.31668174191094051</c:v>
                </c:pt>
                <c:pt idx="1294">
                  <c:v>0.31767911525674236</c:v>
                </c:pt>
                <c:pt idx="1295">
                  <c:v>0.31867816483360628</c:v>
                </c:pt>
                <c:pt idx="1296">
                  <c:v>0.31967888425044344</c:v>
                </c:pt>
                <c:pt idx="1297">
                  <c:v>0.3206812670593106</c:v>
                </c:pt>
                <c:pt idx="1298">
                  <c:v>0.32168530675547657</c:v>
                </c:pt>
                <c:pt idx="1299">
                  <c:v>0.32269099677749197</c:v>
                </c:pt>
                <c:pt idx="1300">
                  <c:v>0.3236983305072631</c:v>
                </c:pt>
                <c:pt idx="1301">
                  <c:v>0.32470730127012964</c:v>
                </c:pt>
                <c:pt idx="1302">
                  <c:v>0.32571790233494596</c:v>
                </c:pt>
                <c:pt idx="1303">
                  <c:v>0.32673012691416597</c:v>
                </c:pt>
                <c:pt idx="1304">
                  <c:v>0.32774396816393214</c:v>
                </c:pt>
                <c:pt idx="1305">
                  <c:v>0.32875941918416818</c:v>
                </c:pt>
                <c:pt idx="1306">
                  <c:v>0.32977647301867535</c:v>
                </c:pt>
                <c:pt idx="1307">
                  <c:v>0.33079512265523281</c:v>
                </c:pt>
                <c:pt idx="1308">
                  <c:v>0.33181536102570153</c:v>
                </c:pt>
                <c:pt idx="1309">
                  <c:v>0.33283718100613247</c:v>
                </c:pt>
                <c:pt idx="1310">
                  <c:v>0.33386057541687791</c:v>
                </c:pt>
                <c:pt idx="1311">
                  <c:v>0.33488553702270724</c:v>
                </c:pt>
                <c:pt idx="1312">
                  <c:v>0.33591205853292633</c:v>
                </c:pt>
                <c:pt idx="1313">
                  <c:v>0.33694013260150057</c:v>
                </c:pt>
                <c:pt idx="1314">
                  <c:v>0.33796975182718242</c:v>
                </c:pt>
                <c:pt idx="1315">
                  <c:v>0.33900090875364175</c:v>
                </c:pt>
                <c:pt idx="1316">
                  <c:v>0.34003359586960114</c:v>
                </c:pt>
                <c:pt idx="1317">
                  <c:v>0.34106780560897437</c:v>
                </c:pt>
                <c:pt idx="1318">
                  <c:v>0.3421035303510091</c:v>
                </c:pt>
                <c:pt idx="1319">
                  <c:v>0.34314076242043312</c:v>
                </c:pt>
                <c:pt idx="1320">
                  <c:v>0.34417949408760495</c:v>
                </c:pt>
                <c:pt idx="1321">
                  <c:v>0.34521971756866793</c:v>
                </c:pt>
                <c:pt idx="1322">
                  <c:v>0.34626142502570817</c:v>
                </c:pt>
                <c:pt idx="1323">
                  <c:v>0.34730460856691675</c:v>
                </c:pt>
                <c:pt idx="1324">
                  <c:v>0.34834926024675567</c:v>
                </c:pt>
                <c:pt idx="1325">
                  <c:v>0.34939537206612747</c:v>
                </c:pt>
                <c:pt idx="1326">
                  <c:v>0.35044293597254877</c:v>
                </c:pt>
                <c:pt idx="1327">
                  <c:v>0.35149194386032834</c:v>
                </c:pt>
                <c:pt idx="1328">
                  <c:v>0.35254238757074791</c:v>
                </c:pt>
                <c:pt idx="1329">
                  <c:v>0.35359425889224816</c:v>
                </c:pt>
                <c:pt idx="1330">
                  <c:v>0.35464754956061756</c:v>
                </c:pt>
                <c:pt idx="1331">
                  <c:v>0.35570225125918553</c:v>
                </c:pt>
                <c:pt idx="1332">
                  <c:v>0.35675835561901997</c:v>
                </c:pt>
                <c:pt idx="1333">
                  <c:v>0.35781585421912721</c:v>
                </c:pt>
                <c:pt idx="1334">
                  <c:v>0.35887473858665792</c:v>
                </c:pt>
                <c:pt idx="1335">
                  <c:v>0.35993500019711488</c:v>
                </c:pt>
                <c:pt idx="1336">
                  <c:v>0.36099663047456632</c:v>
                </c:pt>
                <c:pt idx="1337">
                  <c:v>0.36205962079186177</c:v>
                </c:pt>
                <c:pt idx="1338">
                  <c:v>0.36312396247085238</c:v>
                </c:pt>
                <c:pt idx="1339">
                  <c:v>0.36418964678261584</c:v>
                </c:pt>
                <c:pt idx="1340">
                  <c:v>0.36525666494768316</c:v>
                </c:pt>
                <c:pt idx="1341">
                  <c:v>0.36632500813627178</c:v>
                </c:pt>
                <c:pt idx="1342">
                  <c:v>0.36739466746852056</c:v>
                </c:pt>
                <c:pt idx="1343">
                  <c:v>0.36846563401472943</c:v>
                </c:pt>
                <c:pt idx="1344">
                  <c:v>0.36953789879560306</c:v>
                </c:pt>
                <c:pt idx="1345">
                  <c:v>0.37061145278249774</c:v>
                </c:pt>
                <c:pt idx="1346">
                  <c:v>0.37168628689767264</c:v>
                </c:pt>
                <c:pt idx="1347">
                  <c:v>0.37276239201454464</c:v>
                </c:pt>
                <c:pt idx="1348">
                  <c:v>0.37383975895794663</c:v>
                </c:pt>
                <c:pt idx="1349">
                  <c:v>0.37491837850439058</c:v>
                </c:pt>
                <c:pt idx="1350">
                  <c:v>0.37599824138233284</c:v>
                </c:pt>
                <c:pt idx="1351">
                  <c:v>0.37707933827244483</c:v>
                </c:pt>
                <c:pt idx="1352">
                  <c:v>0.37816165980788663</c:v>
                </c:pt>
                <c:pt idx="1353">
                  <c:v>0.379245196574584</c:v>
                </c:pt>
                <c:pt idx="1354">
                  <c:v>0.38032993911150986</c:v>
                </c:pt>
                <c:pt idx="1355">
                  <c:v>0.38141587791096926</c:v>
                </c:pt>
                <c:pt idx="1356">
                  <c:v>0.38250300341888777</c:v>
                </c:pt>
                <c:pt idx="1357">
                  <c:v>0.38359130603510394</c:v>
                </c:pt>
                <c:pt idx="1358">
                  <c:v>0.38468077611366508</c:v>
                </c:pt>
                <c:pt idx="1359">
                  <c:v>0.38577140396312692</c:v>
                </c:pt>
                <c:pt idx="1360">
                  <c:v>0.38686317984685692</c:v>
                </c:pt>
                <c:pt idx="1361">
                  <c:v>0.38795609398334119</c:v>
                </c:pt>
                <c:pt idx="1362">
                  <c:v>0.38905013654649484</c:v>
                </c:pt>
                <c:pt idx="1363">
                  <c:v>0.39014529766597611</c:v>
                </c:pt>
                <c:pt idx="1364">
                  <c:v>0.39124156742750416</c:v>
                </c:pt>
                <c:pt idx="1365">
                  <c:v>0.39233893587318014</c:v>
                </c:pt>
                <c:pt idx="1366">
                  <c:v>0.39343739300181224</c:v>
                </c:pt>
                <c:pt idx="1367">
                  <c:v>0.39453692876924351</c:v>
                </c:pt>
                <c:pt idx="1368">
                  <c:v>0.39563753308868405</c:v>
                </c:pt>
                <c:pt idx="1369">
                  <c:v>0.39673919583104605</c:v>
                </c:pt>
                <c:pt idx="1370">
                  <c:v>0.39784190682528303</c:v>
                </c:pt>
                <c:pt idx="1371">
                  <c:v>0.39894565585873126</c:v>
                </c:pt>
                <c:pt idx="1372">
                  <c:v>0.40005043267745605</c:v>
                </c:pt>
                <c:pt idx="1373">
                  <c:v>0.40115622698660025</c:v>
                </c:pt>
                <c:pt idx="1374">
                  <c:v>0.40226302845073719</c:v>
                </c:pt>
                <c:pt idx="1375">
                  <c:v>0.40337082669422603</c:v>
                </c:pt>
                <c:pt idx="1376">
                  <c:v>0.40447961130157079</c:v>
                </c:pt>
                <c:pt idx="1377">
                  <c:v>0.40558937181778321</c:v>
                </c:pt>
                <c:pt idx="1378">
                  <c:v>0.40670009774874816</c:v>
                </c:pt>
                <c:pt idx="1379">
                  <c:v>0.40781177856159223</c:v>
                </c:pt>
                <c:pt idx="1380">
                  <c:v>0.40892440368505661</c:v>
                </c:pt>
                <c:pt idx="1381">
                  <c:v>0.41003796250987223</c:v>
                </c:pt>
                <c:pt idx="1382">
                  <c:v>0.41115244438913801</c:v>
                </c:pt>
                <c:pt idx="1383">
                  <c:v>0.4122678386387032</c:v>
                </c:pt>
                <c:pt idx="1384">
                  <c:v>0.41338413453755163</c:v>
                </c:pt>
                <c:pt idx="1385">
                  <c:v>0.41450132132819051</c:v>
                </c:pt>
                <c:pt idx="1386">
                  <c:v>0.41561938821704059</c:v>
                </c:pt>
                <c:pt idx="1387">
                  <c:v>0.41673832437483105</c:v>
                </c:pt>
                <c:pt idx="1388">
                  <c:v>0.41785811893699615</c:v>
                </c:pt>
                <c:pt idx="1389">
                  <c:v>0.41897876100407588</c:v>
                </c:pt>
                <c:pt idx="1390">
                  <c:v>0.42010023964211857</c:v>
                </c:pt>
                <c:pt idx="1391">
                  <c:v>0.42122254388308711</c:v>
                </c:pt>
                <c:pt idx="1392">
                  <c:v>0.42234566272526824</c:v>
                </c:pt>
                <c:pt idx="1393">
                  <c:v>0.42346958513368399</c:v>
                </c:pt>
                <c:pt idx="1394">
                  <c:v>0.42459430004050647</c:v>
                </c:pt>
                <c:pt idx="1395">
                  <c:v>0.42571979634547552</c:v>
                </c:pt>
                <c:pt idx="1396">
                  <c:v>0.42684606291631888</c:v>
                </c:pt>
                <c:pt idx="1397">
                  <c:v>0.42797308858917521</c:v>
                </c:pt>
                <c:pt idx="1398">
                  <c:v>0.42910086216901977</c:v>
                </c:pt>
                <c:pt idx="1399">
                  <c:v>0.43022937243009313</c:v>
                </c:pt>
                <c:pt idx="1400">
                  <c:v>0.43135860811633236</c:v>
                </c:pt>
                <c:pt idx="1401">
                  <c:v>0.43248855794180396</c:v>
                </c:pt>
                <c:pt idx="1402">
                  <c:v>0.43361921059114111</c:v>
                </c:pt>
                <c:pt idx="1403">
                  <c:v>0.43475055471998209</c:v>
                </c:pt>
                <c:pt idx="1404">
                  <c:v>0.43588257895541133</c:v>
                </c:pt>
                <c:pt idx="1405">
                  <c:v>0.43701527189640416</c:v>
                </c:pt>
                <c:pt idx="1406">
                  <c:v>0.43814862211427225</c:v>
                </c:pt>
                <c:pt idx="1407">
                  <c:v>0.43928261815311259</c:v>
                </c:pt>
                <c:pt idx="1408">
                  <c:v>0.44041724853025865</c:v>
                </c:pt>
                <c:pt idx="1409">
                  <c:v>0.44155250173673388</c:v>
                </c:pt>
                <c:pt idx="1410">
                  <c:v>0.44268836623770724</c:v>
                </c:pt>
                <c:pt idx="1411">
                  <c:v>0.44382483047295113</c:v>
                </c:pt>
                <c:pt idx="1412">
                  <c:v>0.44496188285730193</c:v>
                </c:pt>
                <c:pt idx="1413">
                  <c:v>0.44609951178112189</c:v>
                </c:pt>
                <c:pt idx="1414">
                  <c:v>0.44723770561076431</c:v>
                </c:pt>
                <c:pt idx="1415">
                  <c:v>0.44837645268903947</c:v>
                </c:pt>
                <c:pt idx="1416">
                  <c:v>0.44951574133568389</c:v>
                </c:pt>
                <c:pt idx="1417">
                  <c:v>0.45065555984783112</c:v>
                </c:pt>
                <c:pt idx="1418">
                  <c:v>0.45179589650048396</c:v>
                </c:pt>
                <c:pt idx="1419">
                  <c:v>0.45293673954698965</c:v>
                </c:pt>
                <c:pt idx="1420">
                  <c:v>0.45407807721951632</c:v>
                </c:pt>
                <c:pt idx="1421">
                  <c:v>0.45521989772953142</c:v>
                </c:pt>
                <c:pt idx="1422">
                  <c:v>0.45636218926828231</c:v>
                </c:pt>
                <c:pt idx="1423">
                  <c:v>0.45750494000727809</c:v>
                </c:pt>
                <c:pt idx="1424">
                  <c:v>0.45864813809877347</c:v>
                </c:pt>
                <c:pt idx="1425">
                  <c:v>0.45979177167625435</c:v>
                </c:pt>
                <c:pt idx="1426">
                  <c:v>0.4609358288549254</c:v>
                </c:pt>
                <c:pt idx="1427">
                  <c:v>0.46208029773219833</c:v>
                </c:pt>
                <c:pt idx="1428">
                  <c:v>0.46322516638818301</c:v>
                </c:pt>
                <c:pt idx="1429">
                  <c:v>0.46437042288617875</c:v>
                </c:pt>
                <c:pt idx="1430">
                  <c:v>0.46551605527316847</c:v>
                </c:pt>
                <c:pt idx="1431">
                  <c:v>0.46666205158031321</c:v>
                </c:pt>
                <c:pt idx="1432">
                  <c:v>0.46780839982344824</c:v>
                </c:pt>
                <c:pt idx="1433">
                  <c:v>0.46895508800358165</c:v>
                </c:pt>
                <c:pt idx="1434">
                  <c:v>0.47010210410739234</c:v>
                </c:pt>
                <c:pt idx="1435">
                  <c:v>0.47124943610773129</c:v>
                </c:pt>
                <c:pt idx="1436">
                  <c:v>0.47239707196412262</c:v>
                </c:pt>
                <c:pt idx="1437">
                  <c:v>0.47354499962326602</c:v>
                </c:pt>
                <c:pt idx="1438">
                  <c:v>0.47469320701954143</c:v>
                </c:pt>
                <c:pt idx="1439">
                  <c:v>0.47584168207551342</c:v>
                </c:pt>
                <c:pt idx="1440">
                  <c:v>0.47699041270243769</c:v>
                </c:pt>
                <c:pt idx="1441">
                  <c:v>0.47813938680076784</c:v>
                </c:pt>
                <c:pt idx="1442">
                  <c:v>0.47928859226066334</c:v>
                </c:pt>
                <c:pt idx="1443">
                  <c:v>0.48043801696249899</c:v>
                </c:pt>
                <c:pt idx="1444">
                  <c:v>0.48158764877737409</c:v>
                </c:pt>
                <c:pt idx="1445">
                  <c:v>0.48273747556762381</c:v>
                </c:pt>
                <c:pt idx="1446">
                  <c:v>0.48388748518732999</c:v>
                </c:pt>
                <c:pt idx="1447">
                  <c:v>0.48503766548283395</c:v>
                </c:pt>
                <c:pt idx="1448">
                  <c:v>0.48618800429324904</c:v>
                </c:pt>
                <c:pt idx="1449">
                  <c:v>0.48733848945097419</c:v>
                </c:pt>
                <c:pt idx="1450">
                  <c:v>0.4884891087822083</c:v>
                </c:pt>
                <c:pt idx="1451">
                  <c:v>0.48963985010746464</c:v>
                </c:pt>
                <c:pt idx="1452">
                  <c:v>0.4907907012420864</c:v>
                </c:pt>
                <c:pt idx="1453">
                  <c:v>0.49194164999676232</c:v>
                </c:pt>
                <c:pt idx="1454">
                  <c:v>0.49309268417804242</c:v>
                </c:pt>
                <c:pt idx="1455">
                  <c:v>0.49424379158885506</c:v>
                </c:pt>
                <c:pt idx="1456">
                  <c:v>0.49539496002902339</c:v>
                </c:pt>
                <c:pt idx="1457">
                  <c:v>0.49654617729578243</c:v>
                </c:pt>
                <c:pt idx="1458">
                  <c:v>0.4976974311842966</c:v>
                </c:pt>
                <c:pt idx="1459">
                  <c:v>0.49884870948817728</c:v>
                </c:pt>
                <c:pt idx="1460">
                  <c:v>0.5</c:v>
                </c:pt>
                <c:pt idx="1461">
                  <c:v>0.50115129051182272</c:v>
                </c:pt>
                <c:pt idx="1462">
                  <c:v>0.50230256881570334</c:v>
                </c:pt>
                <c:pt idx="1463">
                  <c:v>0.50345382270421757</c:v>
                </c:pt>
                <c:pt idx="1464">
                  <c:v>0.50460503997097661</c:v>
                </c:pt>
                <c:pt idx="1465">
                  <c:v>0.50575620841114488</c:v>
                </c:pt>
                <c:pt idx="1466">
                  <c:v>0.50690731582195758</c:v>
                </c:pt>
                <c:pt idx="1467">
                  <c:v>0.50805835000323762</c:v>
                </c:pt>
                <c:pt idx="1468">
                  <c:v>0.50920929875791354</c:v>
                </c:pt>
                <c:pt idx="1469">
                  <c:v>0.51036014989253542</c:v>
                </c:pt>
                <c:pt idx="1470">
                  <c:v>0.5115108912177917</c:v>
                </c:pt>
                <c:pt idx="1471">
                  <c:v>0.51266151054902576</c:v>
                </c:pt>
                <c:pt idx="1472">
                  <c:v>0.51381199570675096</c:v>
                </c:pt>
                <c:pt idx="1473">
                  <c:v>0.514962334517166</c:v>
                </c:pt>
                <c:pt idx="1474">
                  <c:v>0.51611251481267006</c:v>
                </c:pt>
                <c:pt idx="1475">
                  <c:v>0.51726252443237619</c:v>
                </c:pt>
                <c:pt idx="1476">
                  <c:v>0.51841235122262597</c:v>
                </c:pt>
                <c:pt idx="1477">
                  <c:v>0.51956198303750101</c:v>
                </c:pt>
                <c:pt idx="1478">
                  <c:v>0.52071140773933666</c:v>
                </c:pt>
                <c:pt idx="1479">
                  <c:v>0.52186061319923216</c:v>
                </c:pt>
                <c:pt idx="1480">
                  <c:v>0.52300958729756231</c:v>
                </c:pt>
                <c:pt idx="1481">
                  <c:v>0.52415831792448653</c:v>
                </c:pt>
                <c:pt idx="1482">
                  <c:v>0.52530679298045857</c:v>
                </c:pt>
                <c:pt idx="1483">
                  <c:v>0.52645500037673398</c:v>
                </c:pt>
                <c:pt idx="1484">
                  <c:v>0.52760292803587738</c:v>
                </c:pt>
                <c:pt idx="1485">
                  <c:v>0.5287505638922686</c:v>
                </c:pt>
                <c:pt idx="1486">
                  <c:v>0.52989789589260761</c:v>
                </c:pt>
                <c:pt idx="1487">
                  <c:v>0.53104491199641846</c:v>
                </c:pt>
                <c:pt idx="1488">
                  <c:v>0.53219160017655176</c:v>
                </c:pt>
                <c:pt idx="1489">
                  <c:v>0.53333794841968685</c:v>
                </c:pt>
                <c:pt idx="1490">
                  <c:v>0.53448394472683147</c:v>
                </c:pt>
                <c:pt idx="1491">
                  <c:v>0.53562957711382131</c:v>
                </c:pt>
                <c:pt idx="1492">
                  <c:v>0.53677483361181699</c:v>
                </c:pt>
                <c:pt idx="1493">
                  <c:v>0.53791970226780161</c:v>
                </c:pt>
                <c:pt idx="1494">
                  <c:v>0.53906417114507466</c:v>
                </c:pt>
                <c:pt idx="1495">
                  <c:v>0.5402082283237456</c:v>
                </c:pt>
                <c:pt idx="1496">
                  <c:v>0.54135186190122653</c:v>
                </c:pt>
                <c:pt idx="1497">
                  <c:v>0.54249505999272185</c:v>
                </c:pt>
                <c:pt idx="1498">
                  <c:v>0.54363781073171757</c:v>
                </c:pt>
                <c:pt idx="1499">
                  <c:v>0.54478010227046858</c:v>
                </c:pt>
                <c:pt idx="1500">
                  <c:v>0.54592192278048368</c:v>
                </c:pt>
                <c:pt idx="1501">
                  <c:v>0.54706326045301035</c:v>
                </c:pt>
                <c:pt idx="1502">
                  <c:v>0.54820410349951609</c:v>
                </c:pt>
                <c:pt idx="1503">
                  <c:v>0.54934444015216888</c:v>
                </c:pt>
                <c:pt idx="1504">
                  <c:v>0.55048425866431605</c:v>
                </c:pt>
                <c:pt idx="1505">
                  <c:v>0.55162354731096053</c:v>
                </c:pt>
                <c:pt idx="1506">
                  <c:v>0.55276229438923563</c:v>
                </c:pt>
                <c:pt idx="1507">
                  <c:v>0.55390048821887805</c:v>
                </c:pt>
                <c:pt idx="1508">
                  <c:v>0.55503811714269813</c:v>
                </c:pt>
                <c:pt idx="1509">
                  <c:v>0.55617516952704893</c:v>
                </c:pt>
                <c:pt idx="1510">
                  <c:v>0.55731163376229276</c:v>
                </c:pt>
                <c:pt idx="1511">
                  <c:v>0.55844749826326601</c:v>
                </c:pt>
                <c:pt idx="1512">
                  <c:v>0.55958275146974135</c:v>
                </c:pt>
                <c:pt idx="1513">
                  <c:v>0.56071738184688746</c:v>
                </c:pt>
                <c:pt idx="1514">
                  <c:v>0.56185137788572781</c:v>
                </c:pt>
                <c:pt idx="1515">
                  <c:v>0.56298472810359579</c:v>
                </c:pt>
                <c:pt idx="1516">
                  <c:v>0.56411742104458862</c:v>
                </c:pt>
                <c:pt idx="1517">
                  <c:v>0.56524944528001797</c:v>
                </c:pt>
                <c:pt idx="1518">
                  <c:v>0.56638078940885883</c:v>
                </c:pt>
                <c:pt idx="1519">
                  <c:v>0.56751144205819604</c:v>
                </c:pt>
                <c:pt idx="1520">
                  <c:v>0.56864139188366769</c:v>
                </c:pt>
                <c:pt idx="1521">
                  <c:v>0.56977062756990682</c:v>
                </c:pt>
                <c:pt idx="1522">
                  <c:v>0.57089913783098023</c:v>
                </c:pt>
                <c:pt idx="1523">
                  <c:v>0.57202691141082496</c:v>
                </c:pt>
                <c:pt idx="1524">
                  <c:v>0.57315393708368112</c:v>
                </c:pt>
                <c:pt idx="1525">
                  <c:v>0.57428020365452448</c:v>
                </c:pt>
                <c:pt idx="1526">
                  <c:v>0.57540569995949353</c:v>
                </c:pt>
                <c:pt idx="1527">
                  <c:v>0.57653041486631607</c:v>
                </c:pt>
                <c:pt idx="1528">
                  <c:v>0.57765433727473181</c:v>
                </c:pt>
                <c:pt idx="1529">
                  <c:v>0.57877745611691289</c:v>
                </c:pt>
                <c:pt idx="1530">
                  <c:v>0.57989976035788149</c:v>
                </c:pt>
                <c:pt idx="1531">
                  <c:v>0.58102123899592417</c:v>
                </c:pt>
                <c:pt idx="1532">
                  <c:v>0.5821418810630038</c:v>
                </c:pt>
                <c:pt idx="1533">
                  <c:v>0.58326167562516895</c:v>
                </c:pt>
                <c:pt idx="1534">
                  <c:v>0.58438061178295941</c:v>
                </c:pt>
                <c:pt idx="1535">
                  <c:v>0.58549867867180949</c:v>
                </c:pt>
                <c:pt idx="1536">
                  <c:v>0.58661586546244837</c:v>
                </c:pt>
                <c:pt idx="1537">
                  <c:v>0.58773216136129691</c:v>
                </c:pt>
                <c:pt idx="1538">
                  <c:v>0.58884755561086199</c:v>
                </c:pt>
                <c:pt idx="1539">
                  <c:v>0.58996203749012788</c:v>
                </c:pt>
                <c:pt idx="1540">
                  <c:v>0.59107559631494333</c:v>
                </c:pt>
                <c:pt idx="1541">
                  <c:v>0.59218822143840777</c:v>
                </c:pt>
                <c:pt idx="1542">
                  <c:v>0.59329990225125195</c:v>
                </c:pt>
                <c:pt idx="1543">
                  <c:v>0.59441062818221668</c:v>
                </c:pt>
                <c:pt idx="1544">
                  <c:v>0.59552038869842927</c:v>
                </c:pt>
                <c:pt idx="1545">
                  <c:v>0.59662917330577392</c:v>
                </c:pt>
                <c:pt idx="1546">
                  <c:v>0.59773697154926275</c:v>
                </c:pt>
                <c:pt idx="1547">
                  <c:v>0.59884377301339975</c:v>
                </c:pt>
                <c:pt idx="1548">
                  <c:v>0.59994956732254401</c:v>
                </c:pt>
                <c:pt idx="1549">
                  <c:v>0.60105434414126879</c:v>
                </c:pt>
                <c:pt idx="1550">
                  <c:v>0.60215809317471691</c:v>
                </c:pt>
                <c:pt idx="1551">
                  <c:v>0.60326080416895389</c:v>
                </c:pt>
                <c:pt idx="1552">
                  <c:v>0.60436246691131601</c:v>
                </c:pt>
                <c:pt idx="1553">
                  <c:v>0.60546307123075649</c:v>
                </c:pt>
                <c:pt idx="1554">
                  <c:v>0.60656260699818776</c:v>
                </c:pt>
                <c:pt idx="1555">
                  <c:v>0.60766106412681986</c:v>
                </c:pt>
                <c:pt idx="1556">
                  <c:v>0.60875843257249584</c:v>
                </c:pt>
                <c:pt idx="1557">
                  <c:v>0.60985470233402383</c:v>
                </c:pt>
                <c:pt idx="1558">
                  <c:v>0.61094986345350522</c:v>
                </c:pt>
                <c:pt idx="1559">
                  <c:v>0.61204390601665881</c:v>
                </c:pt>
                <c:pt idx="1560">
                  <c:v>0.61313682015314308</c:v>
                </c:pt>
                <c:pt idx="1561">
                  <c:v>0.61422859603687308</c:v>
                </c:pt>
                <c:pt idx="1562">
                  <c:v>0.61531922388633498</c:v>
                </c:pt>
                <c:pt idx="1563">
                  <c:v>0.61640869396489606</c:v>
                </c:pt>
                <c:pt idx="1564">
                  <c:v>0.61749699658111223</c:v>
                </c:pt>
                <c:pt idx="1565">
                  <c:v>0.61858412208903069</c:v>
                </c:pt>
                <c:pt idx="1566">
                  <c:v>0.61967006088849008</c:v>
                </c:pt>
                <c:pt idx="1567">
                  <c:v>0.62075480342541611</c:v>
                </c:pt>
                <c:pt idx="1568">
                  <c:v>0.62183834019211337</c:v>
                </c:pt>
                <c:pt idx="1569">
                  <c:v>0.62292066172755511</c:v>
                </c:pt>
                <c:pt idx="1570">
                  <c:v>0.62400175861766716</c:v>
                </c:pt>
                <c:pt idx="1571">
                  <c:v>0.62508162149560953</c:v>
                </c:pt>
                <c:pt idx="1572">
                  <c:v>0.62616024104205337</c:v>
                </c:pt>
                <c:pt idx="1573">
                  <c:v>0.62723760798545547</c:v>
                </c:pt>
                <c:pt idx="1574">
                  <c:v>0.62831371310232731</c:v>
                </c:pt>
                <c:pt idx="1575">
                  <c:v>0.62938854721750226</c:v>
                </c:pt>
                <c:pt idx="1576">
                  <c:v>0.63046210120439694</c:v>
                </c:pt>
                <c:pt idx="1577">
                  <c:v>0.63153436598527057</c:v>
                </c:pt>
                <c:pt idx="1578">
                  <c:v>0.63260533253147944</c:v>
                </c:pt>
                <c:pt idx="1579">
                  <c:v>0.63367499186372822</c:v>
                </c:pt>
                <c:pt idx="1580">
                  <c:v>0.63474333505231673</c:v>
                </c:pt>
                <c:pt idx="1581">
                  <c:v>0.63581035321738411</c:v>
                </c:pt>
                <c:pt idx="1582">
                  <c:v>0.63687603752914757</c:v>
                </c:pt>
                <c:pt idx="1583">
                  <c:v>0.63794037920813829</c:v>
                </c:pt>
                <c:pt idx="1584">
                  <c:v>0.63900336952543368</c:v>
                </c:pt>
                <c:pt idx="1585">
                  <c:v>0.64006499980288512</c:v>
                </c:pt>
                <c:pt idx="1586">
                  <c:v>0.64112526141334214</c:v>
                </c:pt>
                <c:pt idx="1587">
                  <c:v>0.64218414578087279</c:v>
                </c:pt>
                <c:pt idx="1588">
                  <c:v>0.64324164438098008</c:v>
                </c:pt>
                <c:pt idx="1589">
                  <c:v>0.64429774874081447</c:v>
                </c:pt>
                <c:pt idx="1590">
                  <c:v>0.6453524504393825</c:v>
                </c:pt>
                <c:pt idx="1591">
                  <c:v>0.64640574110775173</c:v>
                </c:pt>
                <c:pt idx="1592">
                  <c:v>0.64745761242925215</c:v>
                </c:pt>
                <c:pt idx="1593">
                  <c:v>0.64850805613967166</c:v>
                </c:pt>
                <c:pt idx="1594">
                  <c:v>0.64955706402745117</c:v>
                </c:pt>
                <c:pt idx="1595">
                  <c:v>0.65060462793387253</c:v>
                </c:pt>
                <c:pt idx="1596">
                  <c:v>0.65165073975324428</c:v>
                </c:pt>
                <c:pt idx="1597">
                  <c:v>0.65269539143308319</c:v>
                </c:pt>
                <c:pt idx="1598">
                  <c:v>0.65373857497429178</c:v>
                </c:pt>
                <c:pt idx="1599">
                  <c:v>0.65478028243133213</c:v>
                </c:pt>
                <c:pt idx="1600">
                  <c:v>0.65582050591239505</c:v>
                </c:pt>
                <c:pt idx="1601">
                  <c:v>0.65685923757956688</c:v>
                </c:pt>
                <c:pt idx="1602">
                  <c:v>0.65789646964899096</c:v>
                </c:pt>
                <c:pt idx="1603">
                  <c:v>0.65893219439102557</c:v>
                </c:pt>
                <c:pt idx="1604">
                  <c:v>0.65996640413039886</c:v>
                </c:pt>
                <c:pt idx="1605">
                  <c:v>0.66099909124635825</c:v>
                </c:pt>
                <c:pt idx="1606">
                  <c:v>0.66203024817281764</c:v>
                </c:pt>
                <c:pt idx="1607">
                  <c:v>0.66305986739849943</c:v>
                </c:pt>
                <c:pt idx="1608">
                  <c:v>0.66408794146707362</c:v>
                </c:pt>
                <c:pt idx="1609">
                  <c:v>0.66511446297729271</c:v>
                </c:pt>
                <c:pt idx="1610">
                  <c:v>0.66613942458312214</c:v>
                </c:pt>
                <c:pt idx="1611">
                  <c:v>0.66716281899386753</c:v>
                </c:pt>
                <c:pt idx="1612">
                  <c:v>0.66818463897429847</c:v>
                </c:pt>
                <c:pt idx="1613">
                  <c:v>0.66920487734476719</c:v>
                </c:pt>
                <c:pt idx="1614">
                  <c:v>0.6702235269813247</c:v>
                </c:pt>
                <c:pt idx="1615">
                  <c:v>0.67124058081583182</c:v>
                </c:pt>
                <c:pt idx="1616">
                  <c:v>0.67225603183606786</c:v>
                </c:pt>
                <c:pt idx="1617">
                  <c:v>0.67326987308583408</c:v>
                </c:pt>
                <c:pt idx="1618">
                  <c:v>0.67428209766505409</c:v>
                </c:pt>
                <c:pt idx="1619">
                  <c:v>0.67529269872987041</c:v>
                </c:pt>
                <c:pt idx="1620">
                  <c:v>0.67630166949273696</c:v>
                </c:pt>
                <c:pt idx="1621">
                  <c:v>0.67730900322250798</c:v>
                </c:pt>
                <c:pt idx="1622">
                  <c:v>0.67831469324452343</c:v>
                </c:pt>
                <c:pt idx="1623">
                  <c:v>0.67931873294068934</c:v>
                </c:pt>
                <c:pt idx="1624">
                  <c:v>0.68032111574955656</c:v>
                </c:pt>
                <c:pt idx="1625">
                  <c:v>0.68132183516639366</c:v>
                </c:pt>
                <c:pt idx="1626">
                  <c:v>0.68232088474325769</c:v>
                </c:pt>
                <c:pt idx="1627">
                  <c:v>0.68331825808905944</c:v>
                </c:pt>
                <c:pt idx="1628">
                  <c:v>0.68431394886962793</c:v>
                </c:pt>
                <c:pt idx="1629">
                  <c:v>0.68530795080776685</c:v>
                </c:pt>
                <c:pt idx="1630">
                  <c:v>0.68630025768331249</c:v>
                </c:pt>
                <c:pt idx="1631">
                  <c:v>0.68729086333318301</c:v>
                </c:pt>
                <c:pt idx="1632">
                  <c:v>0.68827976165142757</c:v>
                </c:pt>
                <c:pt idx="1633">
                  <c:v>0.68926694658927057</c:v>
                </c:pt>
                <c:pt idx="1634">
                  <c:v>0.69025241215515143</c:v>
                </c:pt>
                <c:pt idx="1635">
                  <c:v>0.69123615241476299</c:v>
                </c:pt>
                <c:pt idx="1636">
                  <c:v>0.69221816149108339</c:v>
                </c:pt>
                <c:pt idx="1637">
                  <c:v>0.6931984335644068</c:v>
                </c:pt>
                <c:pt idx="1638">
                  <c:v>0.69417696287236952</c:v>
                </c:pt>
                <c:pt idx="1639">
                  <c:v>0.69515374370997229</c:v>
                </c:pt>
                <c:pt idx="1640">
                  <c:v>0.69612877042959986</c:v>
                </c:pt>
                <c:pt idx="1641">
                  <c:v>0.69710203744103616</c:v>
                </c:pt>
                <c:pt idx="1642">
                  <c:v>0.69807353921147675</c:v>
                </c:pt>
                <c:pt idx="1643">
                  <c:v>0.69904327026553748</c:v>
                </c:pt>
                <c:pt idx="1644">
                  <c:v>0.7000112251852586</c:v>
                </c:pt>
                <c:pt idx="1645">
                  <c:v>0.70097739861010799</c:v>
                </c:pt>
                <c:pt idx="1646">
                  <c:v>0.70194178523697803</c:v>
                </c:pt>
                <c:pt idx="1647">
                  <c:v>0.70290437982018106</c:v>
                </c:pt>
                <c:pt idx="1648">
                  <c:v>0.70386517717144048</c:v>
                </c:pt>
                <c:pt idx="1649">
                  <c:v>0.70482417215987891</c:v>
                </c:pt>
                <c:pt idx="1650">
                  <c:v>0.70578135971200251</c:v>
                </c:pt>
                <c:pt idx="1651">
                  <c:v>0.70673673481168253</c:v>
                </c:pt>
                <c:pt idx="1652">
                  <c:v>0.70769029250013327</c:v>
                </c:pt>
                <c:pt idx="1653">
                  <c:v>0.70864202787588626</c:v>
                </c:pt>
                <c:pt idx="1654">
                  <c:v>0.70959193609476201</c:v>
                </c:pt>
                <c:pt idx="1655">
                  <c:v>0.71054001236983777</c:v>
                </c:pt>
                <c:pt idx="1656">
                  <c:v>0.71148625197141269</c:v>
                </c:pt>
                <c:pt idx="1657">
                  <c:v>0.71243065022696883</c:v>
                </c:pt>
                <c:pt idx="1658">
                  <c:v>0.71337320252113012</c:v>
                </c:pt>
                <c:pt idx="1659">
                  <c:v>0.71431390429561703</c:v>
                </c:pt>
                <c:pt idx="1660">
                  <c:v>0.71525275104919872</c:v>
                </c:pt>
                <c:pt idx="1661">
                  <c:v>0.71618973833764177</c:v>
                </c:pt>
                <c:pt idx="1662">
                  <c:v>0.71712486177365653</c:v>
                </c:pt>
                <c:pt idx="1663">
                  <c:v>0.71805811702683864</c:v>
                </c:pt>
                <c:pt idx="1664">
                  <c:v>0.71898949982360938</c:v>
                </c:pt>
                <c:pt idx="1665">
                  <c:v>0.71991900594715197</c:v>
                </c:pt>
                <c:pt idx="1666">
                  <c:v>0.72084663123734449</c:v>
                </c:pt>
                <c:pt idx="1667">
                  <c:v>0.72177237159069119</c:v>
                </c:pt>
                <c:pt idx="1668">
                  <c:v>0.72269622296024905</c:v>
                </c:pt>
                <c:pt idx="1669">
                  <c:v>0.72361818135555289</c:v>
                </c:pt>
                <c:pt idx="1670">
                  <c:v>0.7245382428425361</c:v>
                </c:pt>
                <c:pt idx="1671">
                  <c:v>0.72545640354345009</c:v>
                </c:pt>
                <c:pt idx="1672">
                  <c:v>0.72637265963677944</c:v>
                </c:pt>
                <c:pt idx="1673">
                  <c:v>0.72728700735715468</c:v>
                </c:pt>
                <c:pt idx="1674">
                  <c:v>0.72819944299526251</c:v>
                </c:pt>
                <c:pt idx="1675">
                  <c:v>0.72910996289775254</c:v>
                </c:pt>
                <c:pt idx="1676">
                  <c:v>0.73001856346714211</c:v>
                </c:pt>
                <c:pt idx="1677">
                  <c:v>0.7309252411617172</c:v>
                </c:pt>
                <c:pt idx="1678">
                  <c:v>0.7318299924954319</c:v>
                </c:pt>
                <c:pt idx="1679">
                  <c:v>0.73273281403780366</c:v>
                </c:pt>
                <c:pt idx="1680">
                  <c:v>0.73363370241380743</c:v>
                </c:pt>
                <c:pt idx="1681">
                  <c:v>0.73453265430376558</c:v>
                </c:pt>
                <c:pt idx="1682">
                  <c:v>0.73542966644323648</c:v>
                </c:pt>
                <c:pt idx="1683">
                  <c:v>0.73632473562289935</c:v>
                </c:pt>
                <c:pt idx="1684">
                  <c:v>0.7372178586884377</c:v>
                </c:pt>
                <c:pt idx="1685">
                  <c:v>0.73810903254041871</c:v>
                </c:pt>
                <c:pt idx="1686">
                  <c:v>0.7389982541341712</c:v>
                </c:pt>
                <c:pt idx="1687">
                  <c:v>0.73988552047966116</c:v>
                </c:pt>
                <c:pt idx="1688">
                  <c:v>0.74077082864136345</c:v>
                </c:pt>
                <c:pt idx="1689">
                  <c:v>0.74165417573813242</c:v>
                </c:pt>
                <c:pt idx="1690">
                  <c:v>0.74253555894306977</c:v>
                </c:pt>
                <c:pt idx="1691">
                  <c:v>0.7434149754833892</c:v>
                </c:pt>
                <c:pt idx="1692">
                  <c:v>0.74429242264027951</c:v>
                </c:pt>
                <c:pt idx="1693">
                  <c:v>0.74516789774876502</c:v>
                </c:pt>
                <c:pt idx="1694">
                  <c:v>0.74604139819756388</c:v>
                </c:pt>
                <c:pt idx="1695">
                  <c:v>0.74691292142894317</c:v>
                </c:pt>
                <c:pt idx="1696">
                  <c:v>0.74778246493857348</c:v>
                </c:pt>
                <c:pt idx="1697">
                  <c:v>0.74865002627537891</c:v>
                </c:pt>
                <c:pt idx="1698">
                  <c:v>0.74951560304138665</c:v>
                </c:pt>
                <c:pt idx="1699">
                  <c:v>0.75037919289157351</c:v>
                </c:pt>
                <c:pt idx="1700">
                  <c:v>0.75124079353371065</c:v>
                </c:pt>
                <c:pt idx="1701">
                  <c:v>0.752100402728206</c:v>
                </c:pt>
                <c:pt idx="1702">
                  <c:v>0.75295801828794384</c:v>
                </c:pt>
                <c:pt idx="1703">
                  <c:v>0.75381363807812374</c:v>
                </c:pt>
                <c:pt idx="1704">
                  <c:v>0.7546672600160963</c:v>
                </c:pt>
                <c:pt idx="1705">
                  <c:v>0.75551888207119688</c:v>
                </c:pt>
                <c:pt idx="1706">
                  <c:v>0.75636850226457752</c:v>
                </c:pt>
                <c:pt idx="1707">
                  <c:v>0.7572161186690376</c:v>
                </c:pt>
                <c:pt idx="1708">
                  <c:v>0.75806172940885042</c:v>
                </c:pt>
                <c:pt idx="1709">
                  <c:v>0.7589053326595907</c:v>
                </c:pt>
                <c:pt idx="1710">
                  <c:v>0.75974692664795784</c:v>
                </c:pt>
                <c:pt idx="1711">
                  <c:v>0.76058650965159791</c:v>
                </c:pt>
                <c:pt idx="1712">
                  <c:v>0.76142407999892425</c:v>
                </c:pt>
                <c:pt idx="1713">
                  <c:v>0.76225963606893599</c:v>
                </c:pt>
                <c:pt idx="1714">
                  <c:v>0.76309317629103468</c:v>
                </c:pt>
                <c:pt idx="1715">
                  <c:v>0.76392469914483863</c:v>
                </c:pt>
                <c:pt idx="1716">
                  <c:v>0.76475420315999665</c:v>
                </c:pt>
                <c:pt idx="1717">
                  <c:v>0.7655816869159987</c:v>
                </c:pt>
                <c:pt idx="1718">
                  <c:v>0.76640714904198637</c:v>
                </c:pt>
                <c:pt idx="1719">
                  <c:v>0.76723058821655954</c:v>
                </c:pt>
                <c:pt idx="1720">
                  <c:v>0.76805200316758415</c:v>
                </c:pt>
                <c:pt idx="1721">
                  <c:v>0.768871392671995</c:v>
                </c:pt>
                <c:pt idx="1722">
                  <c:v>0.76968875555560101</c:v>
                </c:pt>
                <c:pt idx="1723">
                  <c:v>0.7705040906928845</c:v>
                </c:pt>
                <c:pt idx="1724">
                  <c:v>0.77131739700680235</c:v>
                </c:pt>
                <c:pt idx="1725">
                  <c:v>0.77212867346858394</c:v>
                </c:pt>
                <c:pt idx="1726">
                  <c:v>0.77293791909752774</c:v>
                </c:pt>
                <c:pt idx="1727">
                  <c:v>0.77374513296079772</c:v>
                </c:pt>
                <c:pt idx="1728">
                  <c:v>0.77455031417321552</c:v>
                </c:pt>
                <c:pt idx="1729">
                  <c:v>0.77535346189705467</c:v>
                </c:pt>
                <c:pt idx="1730">
                  <c:v>0.77615457534183074</c:v>
                </c:pt>
                <c:pt idx="1731">
                  <c:v>0.7769536537640912</c:v>
                </c:pt>
                <c:pt idx="1732">
                  <c:v>0.77775069646720396</c:v>
                </c:pt>
                <c:pt idx="1733">
                  <c:v>0.77854570280114421</c:v>
                </c:pt>
                <c:pt idx="1734">
                  <c:v>0.77933867216228048</c:v>
                </c:pt>
                <c:pt idx="1735">
                  <c:v>0.78012960399315845</c:v>
                </c:pt>
                <c:pt idx="1736">
                  <c:v>0.78091849778228561</c:v>
                </c:pt>
                <c:pt idx="1737">
                  <c:v>0.78170535306391165</c:v>
                </c:pt>
                <c:pt idx="1738">
                  <c:v>0.78249016941781013</c:v>
                </c:pt>
                <c:pt idx="1739">
                  <c:v>0.78327294646905821</c:v>
                </c:pt>
                <c:pt idx="1740">
                  <c:v>0.78405368388781504</c:v>
                </c:pt>
                <c:pt idx="1741">
                  <c:v>0.78483238138909928</c:v>
                </c:pt>
                <c:pt idx="1742">
                  <c:v>0.78560903873256482</c:v>
                </c:pt>
                <c:pt idx="1743">
                  <c:v>0.7863836557222772</c:v>
                </c:pt>
                <c:pt idx="1744">
                  <c:v>0.78715623220648678</c:v>
                </c:pt>
                <c:pt idx="1745">
                  <c:v>0.78792676807740214</c:v>
                </c:pt>
                <c:pt idx="1746">
                  <c:v>0.78869526327096284</c:v>
                </c:pt>
                <c:pt idx="1747">
                  <c:v>0.78946171776661034</c:v>
                </c:pt>
                <c:pt idx="1748">
                  <c:v>0.79022613158705823</c:v>
                </c:pt>
                <c:pt idx="1749">
                  <c:v>0.79098850479806104</c:v>
                </c:pt>
                <c:pt idx="1750">
                  <c:v>0.79174883750818448</c:v>
                </c:pt>
                <c:pt idx="1751">
                  <c:v>0.79250712986857119</c:v>
                </c:pt>
                <c:pt idx="1752">
                  <c:v>0.79326338207270819</c:v>
                </c:pt>
                <c:pt idx="1753">
                  <c:v>0.79401759435619346</c:v>
                </c:pt>
                <c:pt idx="1754">
                  <c:v>0.79476976699650037</c:v>
                </c:pt>
                <c:pt idx="1755">
                  <c:v>0.79551990031274211</c:v>
                </c:pt>
                <c:pt idx="1756">
                  <c:v>0.79626799466543563</c:v>
                </c:pt>
                <c:pt idx="1757">
                  <c:v>0.7970140504562645</c:v>
                </c:pt>
                <c:pt idx="1758">
                  <c:v>0.797758068127841</c:v>
                </c:pt>
                <c:pt idx="1759">
                  <c:v>0.79850004816346765</c:v>
                </c:pt>
                <c:pt idx="1760">
                  <c:v>0.79923999108689825</c:v>
                </c:pt>
                <c:pt idx="1761">
                  <c:v>0.79997789746209791</c:v>
                </c:pt>
                <c:pt idx="1762">
                  <c:v>0.80071376789300308</c:v>
                </c:pt>
                <c:pt idx="1763">
                  <c:v>0.80144760302328011</c:v>
                </c:pt>
                <c:pt idx="1764">
                  <c:v>0.80217940353608386</c:v>
                </c:pt>
                <c:pt idx="1765">
                  <c:v>0.80290917015381591</c:v>
                </c:pt>
                <c:pt idx="1766">
                  <c:v>0.80363690363788176</c:v>
                </c:pt>
                <c:pt idx="1767">
                  <c:v>0.80436260478844801</c:v>
                </c:pt>
                <c:pt idx="1768">
                  <c:v>0.80508627444419811</c:v>
                </c:pt>
                <c:pt idx="1769">
                  <c:v>0.80580791348208958</c:v>
                </c:pt>
                <c:pt idx="1770">
                  <c:v>0.80652752281710782</c:v>
                </c:pt>
                <c:pt idx="1771">
                  <c:v>0.80724510340202338</c:v>
                </c:pt>
                <c:pt idx="1772">
                  <c:v>0.80796065622714508</c:v>
                </c:pt>
                <c:pt idx="1773">
                  <c:v>0.8086741823200746</c:v>
                </c:pt>
                <c:pt idx="1774">
                  <c:v>0.80938568274546174</c:v>
                </c:pt>
                <c:pt idx="1775">
                  <c:v>0.81009515860475667</c:v>
                </c:pt>
                <c:pt idx="1776">
                  <c:v>0.81080261103596418</c:v>
                </c:pt>
                <c:pt idx="1777">
                  <c:v>0.81150804121339637</c:v>
                </c:pt>
                <c:pt idx="1778">
                  <c:v>0.81221145034742626</c:v>
                </c:pt>
                <c:pt idx="1779">
                  <c:v>0.81291283968423933</c:v>
                </c:pt>
                <c:pt idx="1780">
                  <c:v>0.81361221050558685</c:v>
                </c:pt>
                <c:pt idx="1781">
                  <c:v>0.8143095641285375</c:v>
                </c:pt>
                <c:pt idx="1782">
                  <c:v>0.81500490190522978</c:v>
                </c:pt>
                <c:pt idx="1783">
                  <c:v>0.8156982252226237</c:v>
                </c:pt>
                <c:pt idx="1784">
                  <c:v>0.81638953550225257</c:v>
                </c:pt>
                <c:pt idx="1785">
                  <c:v>0.81707883419997429</c:v>
                </c:pt>
                <c:pt idx="1786">
                  <c:v>0.81776612280572314</c:v>
                </c:pt>
                <c:pt idx="1787">
                  <c:v>0.81845140284326123</c:v>
                </c:pt>
                <c:pt idx="1788">
                  <c:v>0.81913467586992939</c:v>
                </c:pt>
                <c:pt idx="1789">
                  <c:v>0.81981594347639908</c:v>
                </c:pt>
                <c:pt idx="1790">
                  <c:v>0.820495207286423</c:v>
                </c:pt>
                <c:pt idx="1791">
                  <c:v>0.82117246895658702</c:v>
                </c:pt>
                <c:pt idx="1792">
                  <c:v>0.8218477301760605</c:v>
                </c:pt>
                <c:pt idx="1793">
                  <c:v>0.82252099266634848</c:v>
                </c:pt>
                <c:pt idx="1794">
                  <c:v>0.82319225818104258</c:v>
                </c:pt>
                <c:pt idx="1795">
                  <c:v>0.82386152850557237</c:v>
                </c:pt>
                <c:pt idx="1796">
                  <c:v>0.82452880545695673</c:v>
                </c:pt>
                <c:pt idx="1797">
                  <c:v>0.82519409088355566</c:v>
                </c:pt>
                <c:pt idx="1798">
                  <c:v>0.82585738666482156</c:v>
                </c:pt>
                <c:pt idx="1799">
                  <c:v>0.82651869471105188</c:v>
                </c:pt>
                <c:pt idx="1800">
                  <c:v>0.82717801696313953</c:v>
                </c:pt>
                <c:pt idx="1801">
                  <c:v>0.82783535539232678</c:v>
                </c:pt>
                <c:pt idx="1802">
                  <c:v>0.82849071199995605</c:v>
                </c:pt>
                <c:pt idx="1803">
                  <c:v>0.82914408881722323</c:v>
                </c:pt>
                <c:pt idx="1804">
                  <c:v>0.82979548790493007</c:v>
                </c:pt>
                <c:pt idx="1805">
                  <c:v>0.83044491135323728</c:v>
                </c:pt>
                <c:pt idx="1806">
                  <c:v>0.83109236128141728</c:v>
                </c:pt>
                <c:pt idx="1807">
                  <c:v>0.83173783983760818</c:v>
                </c:pt>
                <c:pt idx="1808">
                  <c:v>0.83238134919856732</c:v>
                </c:pt>
                <c:pt idx="1809">
                  <c:v>0.83302289156942466</c:v>
                </c:pt>
                <c:pt idx="1810">
                  <c:v>0.83366246918343812</c:v>
                </c:pt>
                <c:pt idx="1811">
                  <c:v>0.8343000843017474</c:v>
                </c:pt>
                <c:pt idx="1812">
                  <c:v>0.83493573921312902</c:v>
                </c:pt>
                <c:pt idx="1813">
                  <c:v>0.83556943623375202</c:v>
                </c:pt>
                <c:pt idx="1814">
                  <c:v>0.8362011777069337</c:v>
                </c:pt>
                <c:pt idx="1815">
                  <c:v>0.83683096600289486</c:v>
                </c:pt>
                <c:pt idx="1816">
                  <c:v>0.83745880351851665</c:v>
                </c:pt>
                <c:pt idx="1817">
                  <c:v>0.83808469267709818</c:v>
                </c:pt>
                <c:pt idx="1818">
                  <c:v>0.83870863592811262</c:v>
                </c:pt>
                <c:pt idx="1819">
                  <c:v>0.83933063574696576</c:v>
                </c:pt>
                <c:pt idx="1820">
                  <c:v>0.83995069463475347</c:v>
                </c:pt>
                <c:pt idx="1821">
                  <c:v>0.84056881511802117</c:v>
                </c:pt>
                <c:pt idx="1822">
                  <c:v>0.84118499974852223</c:v>
                </c:pt>
                <c:pt idx="1823">
                  <c:v>0.84179925110297782</c:v>
                </c:pt>
                <c:pt idx="1824">
                  <c:v>0.84241157178283654</c:v>
                </c:pt>
                <c:pt idx="1825">
                  <c:v>0.84302196441403621</c:v>
                </c:pt>
                <c:pt idx="1826">
                  <c:v>0.84363043164676366</c:v>
                </c:pt>
                <c:pt idx="1827">
                  <c:v>0.84423697615521709</c:v>
                </c:pt>
                <c:pt idx="1828">
                  <c:v>0.84484160063736824</c:v>
                </c:pt>
                <c:pt idx="1829">
                  <c:v>0.84544430781472502</c:v>
                </c:pt>
                <c:pt idx="1830">
                  <c:v>0.8460451004320948</c:v>
                </c:pt>
                <c:pt idx="1831">
                  <c:v>0.84664398125734852</c:v>
                </c:pt>
                <c:pt idx="1832">
                  <c:v>0.8472409530811853</c:v>
                </c:pt>
                <c:pt idx="1833">
                  <c:v>0.8478360187168974</c:v>
                </c:pt>
                <c:pt idx="1834">
                  <c:v>0.84842918100013553</c:v>
                </c:pt>
                <c:pt idx="1835">
                  <c:v>0.84902044278867672</c:v>
                </c:pt>
                <c:pt idx="1836">
                  <c:v>0.84960980696218946</c:v>
                </c:pt>
                <c:pt idx="1837">
                  <c:v>0.8501972764220026</c:v>
                </c:pt>
                <c:pt idx="1838">
                  <c:v>0.8507828540908734</c:v>
                </c:pt>
                <c:pt idx="1839">
                  <c:v>0.85136654291275649</c:v>
                </c:pt>
                <c:pt idx="1840">
                  <c:v>0.85194834585257384</c:v>
                </c:pt>
                <c:pt idx="1841">
                  <c:v>0.85252826589598441</c:v>
                </c:pt>
                <c:pt idx="1842">
                  <c:v>0.85310630604915627</c:v>
                </c:pt>
                <c:pt idx="1843">
                  <c:v>0.85368246933853764</c:v>
                </c:pt>
                <c:pt idx="1844">
                  <c:v>0.85425675881062968</c:v>
                </c:pt>
                <c:pt idx="1845">
                  <c:v>0.85482917753175958</c:v>
                </c:pt>
                <c:pt idx="1846">
                  <c:v>0.85539972858785507</c:v>
                </c:pt>
                <c:pt idx="1847">
                  <c:v>0.85596841508421861</c:v>
                </c:pt>
                <c:pt idx="1848">
                  <c:v>0.85653524014530313</c:v>
                </c:pt>
                <c:pt idx="1849">
                  <c:v>0.85710020691448818</c:v>
                </c:pt>
                <c:pt idx="1850">
                  <c:v>0.85766331855385691</c:v>
                </c:pt>
                <c:pt idx="1851">
                  <c:v>0.85822457824397469</c:v>
                </c:pt>
                <c:pt idx="1852">
                  <c:v>0.85878398918366627</c:v>
                </c:pt>
                <c:pt idx="1853">
                  <c:v>0.85934155458979644</c:v>
                </c:pt>
                <c:pt idx="1854">
                  <c:v>0.85989727769704993</c:v>
                </c:pt>
                <c:pt idx="1855">
                  <c:v>0.86045116175771219</c:v>
                </c:pt>
                <c:pt idx="1856">
                  <c:v>0.86100321004145119</c:v>
                </c:pt>
                <c:pt idx="1857">
                  <c:v>0.86155342583510064</c:v>
                </c:pt>
                <c:pt idx="1858">
                  <c:v>0.86210181244244322</c:v>
                </c:pt>
                <c:pt idx="1859">
                  <c:v>0.8626483731839949</c:v>
                </c:pt>
                <c:pt idx="1860">
                  <c:v>0.86319311139679011</c:v>
                </c:pt>
                <c:pt idx="1861">
                  <c:v>0.8637360304341678</c:v>
                </c:pt>
                <c:pt idx="1862">
                  <c:v>0.86427713366555892</c:v>
                </c:pt>
                <c:pt idx="1863">
                  <c:v>0.86481642447627349</c:v>
                </c:pt>
                <c:pt idx="1864">
                  <c:v>0.86535390626728981</c:v>
                </c:pt>
                <c:pt idx="1865">
                  <c:v>0.86588958245504388</c:v>
                </c:pt>
                <c:pt idx="1866">
                  <c:v>0.86642345647121977</c:v>
                </c:pt>
                <c:pt idx="1867">
                  <c:v>0.86695553176254103</c:v>
                </c:pt>
                <c:pt idx="1868">
                  <c:v>0.8674858117905635</c:v>
                </c:pt>
                <c:pt idx="1869">
                  <c:v>0.86801430003146707</c:v>
                </c:pt>
                <c:pt idx="1870">
                  <c:v>0.86854099997585177</c:v>
                </c:pt>
                <c:pt idx="1871">
                  <c:v>0.86906591512853082</c:v>
                </c:pt>
                <c:pt idx="1872">
                  <c:v>0.86958904900832812</c:v>
                </c:pt>
                <c:pt idx="1873">
                  <c:v>0.87011040514787397</c:v>
                </c:pt>
                <c:pt idx="1874">
                  <c:v>0.87062998709340356</c:v>
                </c:pt>
                <c:pt idx="1875">
                  <c:v>0.87114779840455558</c:v>
                </c:pt>
                <c:pt idx="1876">
                  <c:v>0.87166384265417174</c:v>
                </c:pt>
                <c:pt idx="1877">
                  <c:v>0.87217812342809731</c:v>
                </c:pt>
                <c:pt idx="1878">
                  <c:v>0.87269064432498333</c:v>
                </c:pt>
                <c:pt idx="1879">
                  <c:v>0.873201408956088</c:v>
                </c:pt>
                <c:pt idx="1880">
                  <c:v>0.87371042094508145</c:v>
                </c:pt>
                <c:pt idx="1881">
                  <c:v>0.87421768392784938</c:v>
                </c:pt>
                <c:pt idx="1882">
                  <c:v>0.87472320155229855</c:v>
                </c:pt>
                <c:pt idx="1883">
                  <c:v>0.87522697747816391</c:v>
                </c:pt>
                <c:pt idx="1884">
                  <c:v>0.87572901537681469</c:v>
                </c:pt>
                <c:pt idx="1885">
                  <c:v>0.87622931893106459</c:v>
                </c:pt>
                <c:pt idx="1886">
                  <c:v>0.8767278918349789</c:v>
                </c:pt>
                <c:pt idx="1887">
                  <c:v>0.8772247377936867</c:v>
                </c:pt>
                <c:pt idx="1888">
                  <c:v>0.87771986052319129</c:v>
                </c:pt>
                <c:pt idx="1889">
                  <c:v>0.87821326375018283</c:v>
                </c:pt>
                <c:pt idx="1890">
                  <c:v>0.87870495121185144</c:v>
                </c:pt>
                <c:pt idx="1891">
                  <c:v>0.87919492665570165</c:v>
                </c:pt>
                <c:pt idx="1892">
                  <c:v>0.87968319383936766</c:v>
                </c:pt>
                <c:pt idx="1893">
                  <c:v>0.88016975653042973</c:v>
                </c:pt>
                <c:pt idx="1894">
                  <c:v>0.88065461850623161</c:v>
                </c:pt>
                <c:pt idx="1895">
                  <c:v>0.88113778355369832</c:v>
                </c:pt>
                <c:pt idx="1896">
                  <c:v>0.88161925546915654</c:v>
                </c:pt>
                <c:pt idx="1897">
                  <c:v>0.88209903805815426</c:v>
                </c:pt>
                <c:pt idx="1898">
                  <c:v>0.8825771351352818</c:v>
                </c:pt>
                <c:pt idx="1899">
                  <c:v>0.88305355052399537</c:v>
                </c:pt>
                <c:pt idx="1900">
                  <c:v>0.88352828805643924</c:v>
                </c:pt>
                <c:pt idx="1901">
                  <c:v>0.88400135157327153</c:v>
                </c:pt>
                <c:pt idx="1902">
                  <c:v>0.88447274492348804</c:v>
                </c:pt>
                <c:pt idx="1903">
                  <c:v>0.88494247196425035</c:v>
                </c:pt>
                <c:pt idx="1904">
                  <c:v>0.88541053656071256</c:v>
                </c:pt>
                <c:pt idx="1905">
                  <c:v>0.88587694258584959</c:v>
                </c:pt>
                <c:pt idx="1906">
                  <c:v>0.88634169392028728</c:v>
                </c:pt>
                <c:pt idx="1907">
                  <c:v>0.88680479445213301</c:v>
                </c:pt>
                <c:pt idx="1908">
                  <c:v>0.8872662480768071</c:v>
                </c:pt>
                <c:pt idx="1909">
                  <c:v>0.88772605869687526</c:v>
                </c:pt>
                <c:pt idx="1910">
                  <c:v>0.88818423022188309</c:v>
                </c:pt>
                <c:pt idx="1911">
                  <c:v>0.88864076656818991</c:v>
                </c:pt>
                <c:pt idx="1912">
                  <c:v>0.88909567165880499</c:v>
                </c:pt>
                <c:pt idx="1913">
                  <c:v>0.88954894942322482</c:v>
                </c:pt>
                <c:pt idx="1914">
                  <c:v>0.89000060379726997</c:v>
                </c:pt>
                <c:pt idx="1915">
                  <c:v>0.89045063872292474</c:v>
                </c:pt>
                <c:pt idx="1916">
                  <c:v>0.89089905814817694</c:v>
                </c:pt>
                <c:pt idx="1917">
                  <c:v>0.89134586602685817</c:v>
                </c:pt>
                <c:pt idx="1918">
                  <c:v>0.89179106631848748</c:v>
                </c:pt>
                <c:pt idx="1919">
                  <c:v>0.89223466298811238</c:v>
                </c:pt>
                <c:pt idx="1920">
                  <c:v>0.89267666000615409</c:v>
                </c:pt>
                <c:pt idx="1921">
                  <c:v>0.89311706134825286</c:v>
                </c:pt>
                <c:pt idx="1922">
                  <c:v>0.89355587099511313</c:v>
                </c:pt>
                <c:pt idx="1923">
                  <c:v>0.89399309293235174</c:v>
                </c:pt>
                <c:pt idx="1924">
                  <c:v>0.89442873115034549</c:v>
                </c:pt>
                <c:pt idx="1925">
                  <c:v>0.89486278964408039</c:v>
                </c:pt>
                <c:pt idx="1926">
                  <c:v>0.89529527241300244</c:v>
                </c:pt>
                <c:pt idx="1927">
                  <c:v>0.89572618346086863</c:v>
                </c:pt>
                <c:pt idx="1928">
                  <c:v>0.89615552679559918</c:v>
                </c:pt>
                <c:pt idx="1929">
                  <c:v>0.89658330642913131</c:v>
                </c:pt>
                <c:pt idx="1930">
                  <c:v>0.89700952637727294</c:v>
                </c:pt>
                <c:pt idx="1931">
                  <c:v>0.89743419065955954</c:v>
                </c:pt>
                <c:pt idx="1932">
                  <c:v>0.89785730329910896</c:v>
                </c:pt>
                <c:pt idx="1933">
                  <c:v>0.89827886832247983</c:v>
                </c:pt>
                <c:pt idx="1934">
                  <c:v>0.89869888975953016</c:v>
                </c:pt>
                <c:pt idx="1935">
                  <c:v>0.89911737164327676</c:v>
                </c:pt>
                <c:pt idx="1936">
                  <c:v>0.89953431800975525</c:v>
                </c:pt>
                <c:pt idx="1937">
                  <c:v>0.89994973289788305</c:v>
                </c:pt>
                <c:pt idx="1938">
                  <c:v>0.90036362034932038</c:v>
                </c:pt>
                <c:pt idx="1939">
                  <c:v>0.9007759844083354</c:v>
                </c:pt>
                <c:pt idx="1940">
                  <c:v>0.9011868291216677</c:v>
                </c:pt>
                <c:pt idx="1941">
                  <c:v>0.90159615853839481</c:v>
                </c:pt>
                <c:pt idx="1942">
                  <c:v>0.90200397670979848</c:v>
                </c:pt>
                <c:pt idx="1943">
                  <c:v>0.90241028768923237</c:v>
                </c:pt>
                <c:pt idx="1944">
                  <c:v>0.90281509553199146</c:v>
                </c:pt>
                <c:pt idx="1945">
                  <c:v>0.90321840429518074</c:v>
                </c:pt>
                <c:pt idx="1946">
                  <c:v>0.90362021803758708</c:v>
                </c:pt>
                <c:pt idx="1947">
                  <c:v>0.90402054081954952</c:v>
                </c:pt>
                <c:pt idx="1948">
                  <c:v>0.90441937670283412</c:v>
                </c:pt>
                <c:pt idx="1949">
                  <c:v>0.90481672975050587</c:v>
                </c:pt>
                <c:pt idx="1950">
                  <c:v>0.90521260402680392</c:v>
                </c:pt>
                <c:pt idx="1951">
                  <c:v>0.90560700359701829</c:v>
                </c:pt>
                <c:pt idx="1952">
                  <c:v>0.90599993252736566</c:v>
                </c:pt>
                <c:pt idx="1953">
                  <c:v>0.90639139488486709</c:v>
                </c:pt>
                <c:pt idx="1954">
                  <c:v>0.90678139473722752</c:v>
                </c:pt>
                <c:pt idx="1955">
                  <c:v>0.90716993615271491</c:v>
                </c:pt>
                <c:pt idx="1956">
                  <c:v>0.90755702320004072</c:v>
                </c:pt>
                <c:pt idx="1957">
                  <c:v>0.90794265994824308</c:v>
                </c:pt>
                <c:pt idx="1958">
                  <c:v>0.90832685046656725</c:v>
                </c:pt>
                <c:pt idx="1959">
                  <c:v>0.90870959882435109</c:v>
                </c:pt>
                <c:pt idx="1960">
                  <c:v>0.90909090909090906</c:v>
                </c:pt>
                <c:pt idx="1961">
                  <c:v>0.9094707853354177</c:v>
                </c:pt>
                <c:pt idx="1962">
                  <c:v>0.90984923162680253</c:v>
                </c:pt>
                <c:pt idx="1963">
                  <c:v>0.91022625203362528</c:v>
                </c:pt>
                <c:pt idx="1964">
                  <c:v>0.91060185062397248</c:v>
                </c:pt>
                <c:pt idx="1965">
                  <c:v>0.91097603146534523</c:v>
                </c:pt>
                <c:pt idx="1966">
                  <c:v>0.91134879862454976</c:v>
                </c:pt>
                <c:pt idx="1967">
                  <c:v>0.91172015616758773</c:v>
                </c:pt>
                <c:pt idx="1968">
                  <c:v>0.91209010815954994</c:v>
                </c:pt>
                <c:pt idx="1969">
                  <c:v>0.91245865866450904</c:v>
                </c:pt>
                <c:pt idx="1970">
                  <c:v>0.91282581174541322</c:v>
                </c:pt>
                <c:pt idx="1971">
                  <c:v>0.91319157146398244</c:v>
                </c:pt>
                <c:pt idx="1972">
                  <c:v>0.91355594188060441</c:v>
                </c:pt>
                <c:pt idx="1973">
                  <c:v>0.91391892705423039</c:v>
                </c:pt>
                <c:pt idx="1974">
                  <c:v>0.91428053104227458</c:v>
                </c:pt>
                <c:pt idx="1975">
                  <c:v>0.91464075790051269</c:v>
                </c:pt>
                <c:pt idx="1976">
                  <c:v>0.9149996116829815</c:v>
                </c:pt>
                <c:pt idx="1977">
                  <c:v>0.9153570964418799</c:v>
                </c:pt>
                <c:pt idx="1978">
                  <c:v>0.91571321622747059</c:v>
                </c:pt>
                <c:pt idx="1979">
                  <c:v>0.9160679750879821</c:v>
                </c:pt>
                <c:pt idx="1980">
                  <c:v>0.91642137706951343</c:v>
                </c:pt>
                <c:pt idx="1981">
                  <c:v>0.9167734262159376</c:v>
                </c:pt>
                <c:pt idx="1982">
                  <c:v>0.91712412656880726</c:v>
                </c:pt>
                <c:pt idx="1983">
                  <c:v>0.91747348216726088</c:v>
                </c:pt>
                <c:pt idx="1984">
                  <c:v>0.91782149704793026</c:v>
                </c:pt>
                <c:pt idx="1985">
                  <c:v>0.91816817524484806</c:v>
                </c:pt>
                <c:pt idx="1986">
                  <c:v>0.91851352078935666</c:v>
                </c:pt>
                <c:pt idx="1987">
                  <c:v>0.9188575377100191</c:v>
                </c:pt>
                <c:pt idx="1988">
                  <c:v>0.91920023003252804</c:v>
                </c:pt>
                <c:pt idx="1989">
                  <c:v>0.91954160177961863</c:v>
                </c:pt>
                <c:pt idx="1990">
                  <c:v>0.91988165697098079</c:v>
                </c:pt>
                <c:pt idx="1991">
                  <c:v>0.92022039962317193</c:v>
                </c:pt>
                <c:pt idx="1992">
                  <c:v>0.92055783374953204</c:v>
                </c:pt>
                <c:pt idx="1993">
                  <c:v>0.9208939633600981</c:v>
                </c:pt>
                <c:pt idx="1994">
                  <c:v>0.92122879246152023</c:v>
                </c:pt>
                <c:pt idx="1995">
                  <c:v>0.92156232505697822</c:v>
                </c:pt>
                <c:pt idx="1996">
                  <c:v>0.92189456514610002</c:v>
                </c:pt>
                <c:pt idx="1997">
                  <c:v>0.92222551672487896</c:v>
                </c:pt>
                <c:pt idx="1998">
                  <c:v>0.92255518378559442</c:v>
                </c:pt>
                <c:pt idx="1999">
                  <c:v>0.92288357031673096</c:v>
                </c:pt>
                <c:pt idx="2000">
                  <c:v>0.92321068030289977</c:v>
                </c:pt>
                <c:pt idx="2001">
                  <c:v>0.92353651772476075</c:v>
                </c:pt>
                <c:pt idx="2002">
                  <c:v>0.92386108655894472</c:v>
                </c:pt>
                <c:pt idx="2003">
                  <c:v>0.92418439077797743</c:v>
                </c:pt>
                <c:pt idx="2004">
                  <c:v>0.92450643435020341</c:v>
                </c:pt>
                <c:pt idx="2005">
                  <c:v>0.92482722123971162</c:v>
                </c:pt>
                <c:pt idx="2006">
                  <c:v>0.92514675540626079</c:v>
                </c:pt>
                <c:pt idx="2007">
                  <c:v>0.92546504080520708</c:v>
                </c:pt>
                <c:pt idx="2008">
                  <c:v>0.92578208138743101</c:v>
                </c:pt>
                <c:pt idx="2009">
                  <c:v>0.92609788109926572</c:v>
                </c:pt>
                <c:pt idx="2010">
                  <c:v>0.92641244388242638</c:v>
                </c:pt>
                <c:pt idx="2011">
                  <c:v>0.92672577367394127</c:v>
                </c:pt>
                <c:pt idx="2012">
                  <c:v>0.92703787440608021</c:v>
                </c:pt>
                <c:pt idx="2013">
                  <c:v>0.92734875000628814</c:v>
                </c:pt>
                <c:pt idx="2014">
                  <c:v>0.92765840439711666</c:v>
                </c:pt>
                <c:pt idx="2015">
                  <c:v>0.92796684149615738</c:v>
                </c:pt>
                <c:pt idx="2016">
                  <c:v>0.92827406521597544</c:v>
                </c:pt>
                <c:pt idx="2017">
                  <c:v>0.92858007946404442</c:v>
                </c:pt>
                <c:pt idx="2018">
                  <c:v>0.92888488814268211</c:v>
                </c:pt>
                <c:pt idx="2019">
                  <c:v>0.92918849514898594</c:v>
                </c:pt>
                <c:pt idx="2020">
                  <c:v>0.92949090437477033</c:v>
                </c:pt>
                <c:pt idx="2021">
                  <c:v>0.9297921197065051</c:v>
                </c:pt>
                <c:pt idx="2022">
                  <c:v>0.93009214502525206</c:v>
                </c:pt>
                <c:pt idx="2023">
                  <c:v>0.93039098420660626</c:v>
                </c:pt>
                <c:pt idx="2024">
                  <c:v>0.93068864112063465</c:v>
                </c:pt>
                <c:pt idx="2025">
                  <c:v>0.93098511963181751</c:v>
                </c:pt>
                <c:pt idx="2026">
                  <c:v>0.93128042359898855</c:v>
                </c:pt>
                <c:pt idx="2027">
                  <c:v>0.9315745568752789</c:v>
                </c:pt>
                <c:pt idx="2028">
                  <c:v>0.93186752330805844</c:v>
                </c:pt>
                <c:pt idx="2029">
                  <c:v>0.93215932673888013</c:v>
                </c:pt>
                <c:pt idx="2030">
                  <c:v>0.93244997100342386</c:v>
                </c:pt>
                <c:pt idx="2031">
                  <c:v>0.93273945993144192</c:v>
                </c:pt>
                <c:pt idx="2032">
                  <c:v>0.93302779734670438</c:v>
                </c:pt>
                <c:pt idx="2033">
                  <c:v>0.93331498706694527</c:v>
                </c:pt>
                <c:pt idx="2034">
                  <c:v>0.93360103290381047</c:v>
                </c:pt>
                <c:pt idx="2035">
                  <c:v>0.93388593866280434</c:v>
                </c:pt>
                <c:pt idx="2036">
                  <c:v>0.93416970814323974</c:v>
                </c:pt>
                <c:pt idx="2037">
                  <c:v>0.93445234513818531</c:v>
                </c:pt>
                <c:pt idx="2038">
                  <c:v>0.93473385343441673</c:v>
                </c:pt>
                <c:pt idx="2039">
                  <c:v>0.93501423681236739</c:v>
                </c:pt>
                <c:pt idx="2040">
                  <c:v>0.93529349904607828</c:v>
                </c:pt>
                <c:pt idx="2041">
                  <c:v>0.93557164390315062</c:v>
                </c:pt>
                <c:pt idx="2042">
                  <c:v>0.93584867514469872</c:v>
                </c:pt>
                <c:pt idx="2043">
                  <c:v>0.93612459652530289</c:v>
                </c:pt>
                <c:pt idx="2044">
                  <c:v>0.93639941179296249</c:v>
                </c:pt>
                <c:pt idx="2045">
                  <c:v>0.93667312468905195</c:v>
                </c:pt>
                <c:pt idx="2046">
                  <c:v>0.93694573894827493</c:v>
                </c:pt>
                <c:pt idx="2047">
                  <c:v>0.93721725829862013</c:v>
                </c:pt>
                <c:pt idx="2048">
                  <c:v>0.93748768646131764</c:v>
                </c:pt>
                <c:pt idx="2049">
                  <c:v>0.93775702715079656</c:v>
                </c:pt>
                <c:pt idx="2050">
                  <c:v>0.93802528407464192</c:v>
                </c:pt>
                <c:pt idx="2051">
                  <c:v>0.93829246093355434</c:v>
                </c:pt>
                <c:pt idx="2052">
                  <c:v>0.93855856142130689</c:v>
                </c:pt>
                <c:pt idx="2053">
                  <c:v>0.93882358922470677</c:v>
                </c:pt>
                <c:pt idx="2054">
                  <c:v>0.93908754802355376</c:v>
                </c:pt>
                <c:pt idx="2055">
                  <c:v>0.93935044149060221</c:v>
                </c:pt>
                <c:pt idx="2056">
                  <c:v>0.93961227329152175</c:v>
                </c:pt>
                <c:pt idx="2057">
                  <c:v>0.93987304708485919</c:v>
                </c:pt>
                <c:pt idx="2058">
                  <c:v>0.94013276652200217</c:v>
                </c:pt>
                <c:pt idx="2059">
                  <c:v>0.94039143524714075</c:v>
                </c:pt>
                <c:pt idx="2060">
                  <c:v>0.94064905689723233</c:v>
                </c:pt>
                <c:pt idx="2061">
                  <c:v>0.94090563510196579</c:v>
                </c:pt>
                <c:pt idx="2062">
                  <c:v>0.94116117348372541</c:v>
                </c:pt>
                <c:pt idx="2063">
                  <c:v>0.94141567565755846</c:v>
                </c:pt>
                <c:pt idx="2064">
                  <c:v>0.94166914523113898</c:v>
                </c:pt>
                <c:pt idx="2065">
                  <c:v>0.94192158580473584</c:v>
                </c:pt>
                <c:pt idx="2066">
                  <c:v>0.94217300097117962</c:v>
                </c:pt>
                <c:pt idx="2067">
                  <c:v>0.94242339431583044</c:v>
                </c:pt>
                <c:pt idx="2068">
                  <c:v>0.94267276941654565</c:v>
                </c:pt>
                <c:pt idx="2069">
                  <c:v>0.94292112984364973</c:v>
                </c:pt>
                <c:pt idx="2070">
                  <c:v>0.94316847915990276</c:v>
                </c:pt>
                <c:pt idx="2071">
                  <c:v>0.94341482092047124</c:v>
                </c:pt>
                <c:pt idx="2072">
                  <c:v>0.94366015867289788</c:v>
                </c:pt>
                <c:pt idx="2073">
                  <c:v>0.94390449595707271</c:v>
                </c:pt>
                <c:pt idx="2074">
                  <c:v>0.94414783630520538</c:v>
                </c:pt>
                <c:pt idx="2075">
                  <c:v>0.94439018324179658</c:v>
                </c:pt>
                <c:pt idx="2076">
                  <c:v>0.9446315402836104</c:v>
                </c:pt>
                <c:pt idx="2077">
                  <c:v>0.9448719109396484</c:v>
                </c:pt>
                <c:pt idx="2078">
                  <c:v>0.94511129871112254</c:v>
                </c:pt>
                <c:pt idx="2079">
                  <c:v>0.94534970709142907</c:v>
                </c:pt>
                <c:pt idx="2080">
                  <c:v>0.94558713956612483</c:v>
                </c:pt>
                <c:pt idx="2081">
                  <c:v>0.94582359961290008</c:v>
                </c:pt>
                <c:pt idx="2082">
                  <c:v>0.94605909070155625</c:v>
                </c:pt>
                <c:pt idx="2083">
                  <c:v>0.94629361629398057</c:v>
                </c:pt>
                <c:pt idx="2084">
                  <c:v>0.94652717984412404</c:v>
                </c:pt>
                <c:pt idx="2085">
                  <c:v>0.94675978479797751</c:v>
                </c:pt>
                <c:pt idx="2086">
                  <c:v>0.94699143459355006</c:v>
                </c:pt>
                <c:pt idx="2087">
                  <c:v>0.94722213266084665</c:v>
                </c:pt>
                <c:pt idx="2088">
                  <c:v>0.94745188242184686</c:v>
                </c:pt>
                <c:pt idx="2089">
                  <c:v>0.94768068729048405</c:v>
                </c:pt>
                <c:pt idx="2090">
                  <c:v>0.94790855067262525</c:v>
                </c:pt>
                <c:pt idx="2091">
                  <c:v>0.94813547596604975</c:v>
                </c:pt>
                <c:pt idx="2092">
                  <c:v>0.94836146656043163</c:v>
                </c:pt>
                <c:pt idx="2093">
                  <c:v>0.94858652583731906</c:v>
                </c:pt>
                <c:pt idx="2094">
                  <c:v>0.94881065717011637</c:v>
                </c:pt>
                <c:pt idx="2095">
                  <c:v>0.94903386392406563</c:v>
                </c:pt>
                <c:pt idx="2096">
                  <c:v>0.94925614945622949</c:v>
                </c:pt>
                <c:pt idx="2097">
                  <c:v>0.94947751711547279</c:v>
                </c:pt>
                <c:pt idx="2098">
                  <c:v>0.94969797024244695</c:v>
                </c:pt>
                <c:pt idx="2099">
                  <c:v>0.94991751216957243</c:v>
                </c:pt>
                <c:pt idx="2100">
                  <c:v>0.95013614622102383</c:v>
                </c:pt>
                <c:pt idx="2101">
                  <c:v>0.95035387571271357</c:v>
                </c:pt>
                <c:pt idx="2102">
                  <c:v>0.95057070395227705</c:v>
                </c:pt>
                <c:pt idx="2103">
                  <c:v>0.95078663423905785</c:v>
                </c:pt>
                <c:pt idx="2104">
                  <c:v>0.95100166986409373</c:v>
                </c:pt>
                <c:pt idx="2105">
                  <c:v>0.95121581411010192</c:v>
                </c:pt>
                <c:pt idx="2106">
                  <c:v>0.9514290702514675</c:v>
                </c:pt>
                <c:pt idx="2107">
                  <c:v>0.95164144155422759</c:v>
                </c:pt>
                <c:pt idx="2108">
                  <c:v>0.9518529312760613</c:v>
                </c:pt>
                <c:pt idx="2109">
                  <c:v>0.95206354266627613</c:v>
                </c:pt>
                <c:pt idx="2110">
                  <c:v>0.95227327896579617</c:v>
                </c:pt>
                <c:pt idx="2111">
                  <c:v>0.95248214340715098</c:v>
                </c:pt>
                <c:pt idx="2112">
                  <c:v>0.95269013921446455</c:v>
                </c:pt>
                <c:pt idx="2113">
                  <c:v>0.95289726960344412</c:v>
                </c:pt>
                <c:pt idx="2114">
                  <c:v>0.95310353778137069</c:v>
                </c:pt>
                <c:pt idx="2115">
                  <c:v>0.95330894694708779</c:v>
                </c:pt>
                <c:pt idx="2116">
                  <c:v>0.95351350029099369</c:v>
                </c:pt>
                <c:pt idx="2117">
                  <c:v>0.95371720099503066</c:v>
                </c:pt>
                <c:pt idx="2118">
                  <c:v>0.95392005223267651</c:v>
                </c:pt>
                <c:pt idx="2119">
                  <c:v>0.95412205716893739</c:v>
                </c:pt>
                <c:pt idx="2120">
                  <c:v>0.95432321896033767</c:v>
                </c:pt>
                <c:pt idx="2121">
                  <c:v>0.95452354075491364</c:v>
                </c:pt>
                <c:pt idx="2122">
                  <c:v>0.95472302569220613</c:v>
                </c:pt>
                <c:pt idx="2123">
                  <c:v>0.95492167690325225</c:v>
                </c:pt>
                <c:pt idx="2124">
                  <c:v>0.95511949751058045</c:v>
                </c:pt>
                <c:pt idx="2125">
                  <c:v>0.95531649062820279</c:v>
                </c:pt>
                <c:pt idx="2126">
                  <c:v>0.95551265936160945</c:v>
                </c:pt>
                <c:pt idx="2127">
                  <c:v>0.95570800680776347</c:v>
                </c:pt>
                <c:pt idx="2128">
                  <c:v>0.9559025360550949</c:v>
                </c:pt>
                <c:pt idx="2129">
                  <c:v>0.95609625018349575</c:v>
                </c:pt>
                <c:pt idx="2130">
                  <c:v>0.9562891522643161</c:v>
                </c:pt>
                <c:pt idx="2131">
                  <c:v>0.95648124536035883</c:v>
                </c:pt>
                <c:pt idx="2132">
                  <c:v>0.95667253252587636</c:v>
                </c:pt>
                <c:pt idx="2133">
                  <c:v>0.95686301680656649</c:v>
                </c:pt>
                <c:pt idx="2134">
                  <c:v>0.9570527012395692</c:v>
                </c:pt>
                <c:pt idx="2135">
                  <c:v>0.957241588853464</c:v>
                </c:pt>
                <c:pt idx="2136">
                  <c:v>0.95742968266826622</c:v>
                </c:pt>
                <c:pt idx="2137">
                  <c:v>0.95761698569542564</c:v>
                </c:pt>
                <c:pt idx="2138">
                  <c:v>0.95780350093782385</c:v>
                </c:pt>
                <c:pt idx="2139">
                  <c:v>0.9579892313897721</c:v>
                </c:pt>
                <c:pt idx="2140">
                  <c:v>0.9581741800370106</c:v>
                </c:pt>
                <c:pt idx="2141">
                  <c:v>0.95835834985670654</c:v>
                </c:pt>
                <c:pt idx="2142">
                  <c:v>0.9585417438174535</c:v>
                </c:pt>
                <c:pt idx="2143">
                  <c:v>0.95872436487927093</c:v>
                </c:pt>
                <c:pt idx="2144">
                  <c:v>0.95890621599360348</c:v>
                </c:pt>
                <c:pt idx="2145">
                  <c:v>0.95908730010332066</c:v>
                </c:pt>
                <c:pt idx="2146">
                  <c:v>0.95926762014271816</c:v>
                </c:pt>
                <c:pt idx="2147">
                  <c:v>0.95944717903751719</c:v>
                </c:pt>
                <c:pt idx="2148">
                  <c:v>0.9596259797048653</c:v>
                </c:pt>
                <c:pt idx="2149">
                  <c:v>0.95980402505333839</c:v>
                </c:pt>
                <c:pt idx="2150">
                  <c:v>0.95998131798294117</c:v>
                </c:pt>
                <c:pt idx="2151">
                  <c:v>0.9601578613851085</c:v>
                </c:pt>
                <c:pt idx="2152">
                  <c:v>0.96033365814270821</c:v>
                </c:pt>
                <c:pt idx="2153">
                  <c:v>0.96050871113004188</c:v>
                </c:pt>
                <c:pt idx="2154">
                  <c:v>0.96068302321284882</c:v>
                </c:pt>
                <c:pt idx="2155">
                  <c:v>0.96085659724830708</c:v>
                </c:pt>
                <c:pt idx="2156">
                  <c:v>0.96102943608503699</c:v>
                </c:pt>
                <c:pt idx="2157">
                  <c:v>0.96120154256310486</c:v>
                </c:pt>
                <c:pt idx="2158">
                  <c:v>0.96137291951402459</c:v>
                </c:pt>
                <c:pt idx="2159">
                  <c:v>0.96154356976076394</c:v>
                </c:pt>
                <c:pt idx="2160">
                  <c:v>0.96171349611774537</c:v>
                </c:pt>
                <c:pt idx="2161">
                  <c:v>0.96188270139085208</c:v>
                </c:pt>
                <c:pt idx="2162">
                  <c:v>0.9620511883774322</c:v>
                </c:pt>
                <c:pt idx="2163">
                  <c:v>0.96221895986630257</c:v>
                </c:pt>
                <c:pt idx="2164">
                  <c:v>0.96238601863775375</c:v>
                </c:pt>
                <c:pt idx="2165">
                  <c:v>0.96255236746355533</c:v>
                </c:pt>
                <c:pt idx="2166">
                  <c:v>0.96271800910696104</c:v>
                </c:pt>
                <c:pt idx="2167">
                  <c:v>0.9628829463227141</c:v>
                </c:pt>
                <c:pt idx="2168">
                  <c:v>0.96304718185705274</c:v>
                </c:pt>
                <c:pt idx="2169">
                  <c:v>0.96321071844771688</c:v>
                </c:pt>
                <c:pt idx="2170">
                  <c:v>0.96337355882395315</c:v>
                </c:pt>
                <c:pt idx="2171">
                  <c:v>0.96353570570652147</c:v>
                </c:pt>
                <c:pt idx="2172">
                  <c:v>0.96369716180770282</c:v>
                </c:pt>
                <c:pt idx="2173">
                  <c:v>0.96385792983130381</c:v>
                </c:pt>
                <c:pt idx="2174">
                  <c:v>0.96401801247266594</c:v>
                </c:pt>
                <c:pt idx="2175">
                  <c:v>0.96417741241867094</c:v>
                </c:pt>
                <c:pt idx="2176">
                  <c:v>0.96433613234774895</c:v>
                </c:pt>
                <c:pt idx="2177">
                  <c:v>0.96449417492988609</c:v>
                </c:pt>
                <c:pt idx="2178">
                  <c:v>0.9646515428266319</c:v>
                </c:pt>
                <c:pt idx="2179">
                  <c:v>0.96480823869110754</c:v>
                </c:pt>
                <c:pt idx="2180">
                  <c:v>0.96496426516801381</c:v>
                </c:pt>
                <c:pt idx="2181">
                  <c:v>0.96511962489363956</c:v>
                </c:pt>
                <c:pt idx="2182">
                  <c:v>0.96527432049587003</c:v>
                </c:pt>
                <c:pt idx="2183">
                  <c:v>0.96542835459419585</c:v>
                </c:pt>
                <c:pt idx="2184">
                  <c:v>0.96558172979972168</c:v>
                </c:pt>
                <c:pt idx="2185">
                  <c:v>0.96573444871517511</c:v>
                </c:pt>
                <c:pt idx="2186">
                  <c:v>0.96588651393491631</c:v>
                </c:pt>
                <c:pt idx="2187">
                  <c:v>0.96603792804494737</c:v>
                </c:pt>
                <c:pt idx="2188">
                  <c:v>0.96618869362292159</c:v>
                </c:pt>
                <c:pt idx="2189">
                  <c:v>0.96633881323815363</c:v>
                </c:pt>
                <c:pt idx="2190">
                  <c:v>0.96648828945162879</c:v>
                </c:pt>
                <c:pt idx="2191">
                  <c:v>0.96663712481601405</c:v>
                </c:pt>
                <c:pt idx="2192">
                  <c:v>0.96678532187566757</c:v>
                </c:pt>
                <c:pt idx="2193">
                  <c:v>0.9669328831666496</c:v>
                </c:pt>
                <c:pt idx="2194">
                  <c:v>0.9670798112167327</c:v>
                </c:pt>
                <c:pt idx="2195">
                  <c:v>0.96722610854541258</c:v>
                </c:pt>
                <c:pt idx="2196">
                  <c:v>0.96737177766391913</c:v>
                </c:pt>
                <c:pt idx="2197">
                  <c:v>0.96751682107522752</c:v>
                </c:pt>
                <c:pt idx="2198">
                  <c:v>0.96766124127406927</c:v>
                </c:pt>
                <c:pt idx="2199">
                  <c:v>0.96780504074694373</c:v>
                </c:pt>
                <c:pt idx="2200">
                  <c:v>0.96794822197212893</c:v>
                </c:pt>
                <c:pt idx="2201">
                  <c:v>0.96809078741969445</c:v>
                </c:pt>
                <c:pt idx="2202">
                  <c:v>0.96823273955151279</c:v>
                </c:pt>
                <c:pt idx="2203">
                  <c:v>0.9683740808212703</c:v>
                </c:pt>
                <c:pt idx="2204">
                  <c:v>0.96851481367448067</c:v>
                </c:pt>
                <c:pt idx="2205">
                  <c:v>0.9686549405484961</c:v>
                </c:pt>
                <c:pt idx="2206">
                  <c:v>0.96879446387252055</c:v>
                </c:pt>
                <c:pt idx="2207">
                  <c:v>0.96893338606762169</c:v>
                </c:pt>
                <c:pt idx="2208">
                  <c:v>0.9690717095467436</c:v>
                </c:pt>
                <c:pt idx="2209">
                  <c:v>0.96920943671471937</c:v>
                </c:pt>
                <c:pt idx="2210">
                  <c:v>0.96934656996828439</c:v>
                </c:pt>
                <c:pt idx="2211">
                  <c:v>0.96948311169608936</c:v>
                </c:pt>
                <c:pt idx="2212">
                  <c:v>0.96961906427871269</c:v>
                </c:pt>
                <c:pt idx="2213">
                  <c:v>0.96975443008867479</c:v>
                </c:pt>
                <c:pt idx="2214">
                  <c:v>0.9698892114904506</c:v>
                </c:pt>
                <c:pt idx="2215">
                  <c:v>0.97002341084048394</c:v>
                </c:pt>
                <c:pt idx="2216">
                  <c:v>0.97015703048720026</c:v>
                </c:pt>
                <c:pt idx="2217">
                  <c:v>0.97029007277102075</c:v>
                </c:pt>
                <c:pt idx="2218">
                  <c:v>0.97042254002437645</c:v>
                </c:pt>
                <c:pt idx="2219">
                  <c:v>0.97055443457172208</c:v>
                </c:pt>
                <c:pt idx="2220">
                  <c:v>0.97068575872954965</c:v>
                </c:pt>
                <c:pt idx="2221">
                  <c:v>0.97081651480640341</c:v>
                </c:pt>
                <c:pt idx="2222">
                  <c:v>0.9709467051028936</c:v>
                </c:pt>
                <c:pt idx="2223">
                  <c:v>0.97107633191171139</c:v>
                </c:pt>
                <c:pt idx="2224">
                  <c:v>0.97120539751764223</c:v>
                </c:pt>
                <c:pt idx="2225">
                  <c:v>0.97133390419758214</c:v>
                </c:pt>
                <c:pt idx="2226">
                  <c:v>0.97146185422055098</c:v>
                </c:pt>
                <c:pt idx="2227">
                  <c:v>0.971589249847708</c:v>
                </c:pt>
                <c:pt idx="2228">
                  <c:v>0.97171609333236675</c:v>
                </c:pt>
                <c:pt idx="2229">
                  <c:v>0.97184238692000957</c:v>
                </c:pt>
                <c:pt idx="2230">
                  <c:v>0.97196813284830363</c:v>
                </c:pt>
                <c:pt idx="2231">
                  <c:v>0.97209333334711456</c:v>
                </c:pt>
                <c:pt idx="2232">
                  <c:v>0.97221799063852354</c:v>
                </c:pt>
                <c:pt idx="2233">
                  <c:v>0.97234210693684187</c:v>
                </c:pt>
                <c:pt idx="2234">
                  <c:v>0.97246568444862591</c:v>
                </c:pt>
                <c:pt idx="2235">
                  <c:v>0.97258872537269336</c:v>
                </c:pt>
                <c:pt idx="2236">
                  <c:v>0.97271123190013897</c:v>
                </c:pt>
                <c:pt idx="2237">
                  <c:v>0.97283320621434954</c:v>
                </c:pt>
                <c:pt idx="2238">
                  <c:v>0.97295465049102003</c:v>
                </c:pt>
                <c:pt idx="2239">
                  <c:v>0.97307556689817032</c:v>
                </c:pt>
                <c:pt idx="2240">
                  <c:v>0.97319595759615984</c:v>
                </c:pt>
                <c:pt idx="2241">
                  <c:v>0.97331582473770417</c:v>
                </c:pt>
                <c:pt idx="2242">
                  <c:v>0.97343517046789174</c:v>
                </c:pt>
                <c:pt idx="2243">
                  <c:v>0.97355399692419853</c:v>
                </c:pt>
                <c:pt idx="2244">
                  <c:v>0.97367230623650658</c:v>
                </c:pt>
                <c:pt idx="2245">
                  <c:v>0.97379010052711767</c:v>
                </c:pt>
                <c:pt idx="2246">
                  <c:v>0.97390738191077231</c:v>
                </c:pt>
                <c:pt idx="2247">
                  <c:v>0.97402415249466412</c:v>
                </c:pt>
                <c:pt idx="2248">
                  <c:v>0.97414041437845789</c:v>
                </c:pt>
                <c:pt idx="2249">
                  <c:v>0.97425616965430539</c:v>
                </c:pt>
                <c:pt idx="2250">
                  <c:v>0.97437142040686187</c:v>
                </c:pt>
                <c:pt idx="2251">
                  <c:v>0.97448616871330407</c:v>
                </c:pt>
                <c:pt idx="2252">
                  <c:v>0.97460041664334551</c:v>
                </c:pt>
                <c:pt idx="2253">
                  <c:v>0.974714166259254</c:v>
                </c:pt>
                <c:pt idx="2254">
                  <c:v>0.97482741961586905</c:v>
                </c:pt>
                <c:pt idx="2255">
                  <c:v>0.974940178760618</c:v>
                </c:pt>
                <c:pt idx="2256">
                  <c:v>0.97505244573353345</c:v>
                </c:pt>
                <c:pt idx="2257">
                  <c:v>0.97516422256727098</c:v>
                </c:pt>
                <c:pt idx="2258">
                  <c:v>0.97527551128712531</c:v>
                </c:pt>
                <c:pt idx="2259">
                  <c:v>0.9753863139110478</c:v>
                </c:pt>
                <c:pt idx="2260">
                  <c:v>0.97549663244966411</c:v>
                </c:pt>
                <c:pt idx="2261">
                  <c:v>0.97560646890629121</c:v>
                </c:pt>
                <c:pt idx="2262">
                  <c:v>0.97571582527695511</c:v>
                </c:pt>
                <c:pt idx="2263">
                  <c:v>0.97582470355040762</c:v>
                </c:pt>
                <c:pt idx="2264">
                  <c:v>0.97593310570814451</c:v>
                </c:pt>
                <c:pt idx="2265">
                  <c:v>0.9760410337244223</c:v>
                </c:pt>
                <c:pt idx="2266">
                  <c:v>0.97614848956627698</c:v>
                </c:pt>
                <c:pt idx="2267">
                  <c:v>0.97625547519354006</c:v>
                </c:pt>
                <c:pt idx="2268">
                  <c:v>0.97636199255885792</c:v>
                </c:pt>
                <c:pt idx="2269">
                  <c:v>0.976468043607708</c:v>
                </c:pt>
                <c:pt idx="2270">
                  <c:v>0.97657363027841748</c:v>
                </c:pt>
                <c:pt idx="2271">
                  <c:v>0.97667875450218111</c:v>
                </c:pt>
                <c:pt idx="2272">
                  <c:v>0.97678341820307768</c:v>
                </c:pt>
                <c:pt idx="2273">
                  <c:v>0.97688762329808998</c:v>
                </c:pt>
                <c:pt idx="2274">
                  <c:v>0.97699137169712125</c:v>
                </c:pt>
                <c:pt idx="2275">
                  <c:v>0.97709466530301303</c:v>
                </c:pt>
                <c:pt idx="2276">
                  <c:v>0.9771975060115643</c:v>
                </c:pt>
                <c:pt idx="2277">
                  <c:v>0.97729989571154829</c:v>
                </c:pt>
                <c:pt idx="2278">
                  <c:v>0.9774018362847311</c:v>
                </c:pt>
                <c:pt idx="2279">
                  <c:v>0.97750332960588959</c:v>
                </c:pt>
                <c:pt idx="2280">
                  <c:v>0.97760437754282947</c:v>
                </c:pt>
                <c:pt idx="2281">
                  <c:v>0.9777049819564041</c:v>
                </c:pt>
                <c:pt idx="2282">
                  <c:v>0.97780514470053081</c:v>
                </c:pt>
                <c:pt idx="2283">
                  <c:v>0.97790486762221163</c:v>
                </c:pt>
                <c:pt idx="2284">
                  <c:v>0.97800415256154927</c:v>
                </c:pt>
                <c:pt idx="2285">
                  <c:v>0.97810300135176664</c:v>
                </c:pt>
                <c:pt idx="2286">
                  <c:v>0.9782014158192246</c:v>
                </c:pt>
                <c:pt idx="2287">
                  <c:v>0.97829939778344066</c:v>
                </c:pt>
                <c:pt idx="2288">
                  <c:v>0.97839694905710661</c:v>
                </c:pt>
                <c:pt idx="2289">
                  <c:v>0.97849407144610756</c:v>
                </c:pt>
                <c:pt idx="2290">
                  <c:v>0.97859076674953982</c:v>
                </c:pt>
                <c:pt idx="2291">
                  <c:v>0.97868703675972979</c:v>
                </c:pt>
                <c:pt idx="2292">
                  <c:v>0.9787828832622516</c:v>
                </c:pt>
                <c:pt idx="2293">
                  <c:v>0.97887830803594622</c:v>
                </c:pt>
                <c:pt idx="2294">
                  <c:v>0.9789733128529392</c:v>
                </c:pt>
                <c:pt idx="2295">
                  <c:v>0.97906789947866046</c:v>
                </c:pt>
                <c:pt idx="2296">
                  <c:v>0.97916206967186081</c:v>
                </c:pt>
                <c:pt idx="2297">
                  <c:v>0.97925582518463172</c:v>
                </c:pt>
                <c:pt idx="2298">
                  <c:v>0.97934916776242409</c:v>
                </c:pt>
                <c:pt idx="2299">
                  <c:v>0.97944209914406566</c:v>
                </c:pt>
                <c:pt idx="2300">
                  <c:v>0.97953462106178035</c:v>
                </c:pt>
                <c:pt idx="2301">
                  <c:v>0.97962673524120647</c:v>
                </c:pt>
                <c:pt idx="2302">
                  <c:v>0.97971844340141534</c:v>
                </c:pt>
                <c:pt idx="2303">
                  <c:v>0.97980974725492964</c:v>
                </c:pt>
                <c:pt idx="2304">
                  <c:v>0.97990064850774272</c:v>
                </c:pt>
                <c:pt idx="2305">
                  <c:v>0.97999114885933603</c:v>
                </c:pt>
                <c:pt idx="2306">
                  <c:v>0.98008125000269875</c:v>
                </c:pt>
                <c:pt idx="2307">
                  <c:v>0.98017095362434581</c:v>
                </c:pt>
                <c:pt idx="2308">
                  <c:v>0.98026026140433642</c:v>
                </c:pt>
                <c:pt idx="2309">
                  <c:v>0.98034917501629337</c:v>
                </c:pt>
                <c:pt idx="2310">
                  <c:v>0.9804376961274206</c:v>
                </c:pt>
                <c:pt idx="2311">
                  <c:v>0.98052582639852259</c:v>
                </c:pt>
                <c:pt idx="2312">
                  <c:v>0.98061356748402295</c:v>
                </c:pt>
                <c:pt idx="2313">
                  <c:v>0.98070092103198281</c:v>
                </c:pt>
                <c:pt idx="2314">
                  <c:v>0.98078788868411915</c:v>
                </c:pt>
                <c:pt idx="2315">
                  <c:v>0.98087447207582434</c:v>
                </c:pt>
                <c:pt idx="2316">
                  <c:v>0.98096067283618338</c:v>
                </c:pt>
                <c:pt idx="2317">
                  <c:v>0.98104649258799426</c:v>
                </c:pt>
                <c:pt idx="2318">
                  <c:v>0.98113193294778478</c:v>
                </c:pt>
                <c:pt idx="2319">
                  <c:v>0.98121699552583297</c:v>
                </c:pt>
                <c:pt idx="2320">
                  <c:v>0.98130168192618394</c:v>
                </c:pt>
                <c:pt idx="2321">
                  <c:v>0.98138599374667013</c:v>
                </c:pt>
                <c:pt idx="2322">
                  <c:v>0.98146993257892856</c:v>
                </c:pt>
                <c:pt idx="2323">
                  <c:v>0.98155350000842068</c:v>
                </c:pt>
                <c:pt idx="2324">
                  <c:v>0.98163669761444972</c:v>
                </c:pt>
                <c:pt idx="2325">
                  <c:v>0.98171952697018072</c:v>
                </c:pt>
                <c:pt idx="2326">
                  <c:v>0.98180198964265752</c:v>
                </c:pt>
                <c:pt idx="2327">
                  <c:v>0.98188408719282283</c:v>
                </c:pt>
                <c:pt idx="2328">
                  <c:v>0.98196582117553588</c:v>
                </c:pt>
                <c:pt idx="2329">
                  <c:v>0.98204719313959132</c:v>
                </c:pt>
                <c:pt idx="2330">
                  <c:v>0.9821282046277382</c:v>
                </c:pt>
                <c:pt idx="2331">
                  <c:v>0.98220885717669759</c:v>
                </c:pt>
                <c:pt idx="2332">
                  <c:v>0.98228915231718228</c:v>
                </c:pt>
                <c:pt idx="2333">
                  <c:v>0.98236909157391372</c:v>
                </c:pt>
                <c:pt idx="2334">
                  <c:v>0.98244867646564293</c:v>
                </c:pt>
                <c:pt idx="2335">
                  <c:v>0.98252790850516658</c:v>
                </c:pt>
                <c:pt idx="2336">
                  <c:v>0.98260678919934719</c:v>
                </c:pt>
                <c:pt idx="2337">
                  <c:v>0.98268532004913078</c:v>
                </c:pt>
                <c:pt idx="2338">
                  <c:v>0.98276350254956613</c:v>
                </c:pt>
                <c:pt idx="2339">
                  <c:v>0.98284133818982189</c:v>
                </c:pt>
                <c:pt idx="2340">
                  <c:v>0.98291882845320655</c:v>
                </c:pt>
                <c:pt idx="2341">
                  <c:v>0.98299597481718637</c:v>
                </c:pt>
                <c:pt idx="2342">
                  <c:v>0.98307277875340349</c:v>
                </c:pt>
                <c:pt idx="2343">
                  <c:v>0.98314924172769447</c:v>
                </c:pt>
                <c:pt idx="2344">
                  <c:v>0.98322536520010939</c:v>
                </c:pt>
                <c:pt idx="2345">
                  <c:v>0.98330115062492884</c:v>
                </c:pt>
                <c:pt idx="2346">
                  <c:v>0.98337659945068412</c:v>
                </c:pt>
                <c:pt idx="2347">
                  <c:v>0.98345171312017354</c:v>
                </c:pt>
                <c:pt idx="2348">
                  <c:v>0.98352649307048334</c:v>
                </c:pt>
                <c:pt idx="2349">
                  <c:v>0.98360094073300286</c:v>
                </c:pt>
                <c:pt idx="2350">
                  <c:v>0.9836750575334462</c:v>
                </c:pt>
                <c:pt idx="2351">
                  <c:v>0.98374884489186709</c:v>
                </c:pt>
                <c:pt idx="2352">
                  <c:v>0.9838223042226808</c:v>
                </c:pt>
                <c:pt idx="2353">
                  <c:v>0.98389543693467896</c:v>
                </c:pt>
                <c:pt idx="2354">
                  <c:v>0.98396824443105013</c:v>
                </c:pt>
                <c:pt idx="2355">
                  <c:v>0.98404072810939747</c:v>
                </c:pt>
                <c:pt idx="2356">
                  <c:v>0.98411288936175623</c:v>
                </c:pt>
                <c:pt idx="2357">
                  <c:v>0.98418472957461223</c:v>
                </c:pt>
                <c:pt idx="2358">
                  <c:v>0.98425625012892115</c:v>
                </c:pt>
                <c:pt idx="2359">
                  <c:v>0.98432745240012476</c:v>
                </c:pt>
                <c:pt idx="2360">
                  <c:v>0.98439833775817043</c:v>
                </c:pt>
                <c:pt idx="2361">
                  <c:v>0.98446890756752858</c:v>
                </c:pt>
                <c:pt idx="2362">
                  <c:v>0.98453916318721113</c:v>
                </c:pt>
                <c:pt idx="2363">
                  <c:v>0.98460910597078932</c:v>
                </c:pt>
                <c:pt idx="2364">
                  <c:v>0.98467873726641186</c:v>
                </c:pt>
                <c:pt idx="2365">
                  <c:v>0.98474805841682223</c:v>
                </c:pt>
                <c:pt idx="2366">
                  <c:v>0.98481707075937797</c:v>
                </c:pt>
                <c:pt idx="2367">
                  <c:v>0.98488577562606794</c:v>
                </c:pt>
                <c:pt idx="2368">
                  <c:v>0.98495417434352917</c:v>
                </c:pt>
                <c:pt idx="2369">
                  <c:v>0.98502226823306704</c:v>
                </c:pt>
                <c:pt idx="2370">
                  <c:v>0.98509005861067145</c:v>
                </c:pt>
                <c:pt idx="2371">
                  <c:v>0.98515754678703449</c:v>
                </c:pt>
                <c:pt idx="2372">
                  <c:v>0.98522473406757005</c:v>
                </c:pt>
                <c:pt idx="2373">
                  <c:v>0.98529162175242957</c:v>
                </c:pt>
                <c:pt idx="2374">
                  <c:v>0.98535821113652078</c:v>
                </c:pt>
                <c:pt idx="2375">
                  <c:v>0.98542450350952571</c:v>
                </c:pt>
                <c:pt idx="2376">
                  <c:v>0.98549050015591777</c:v>
                </c:pt>
                <c:pt idx="2377">
                  <c:v>0.98555620235497943</c:v>
                </c:pt>
                <c:pt idx="2378">
                  <c:v>0.98562161138082094</c:v>
                </c:pt>
                <c:pt idx="2379">
                  <c:v>0.98568672850239625</c:v>
                </c:pt>
                <c:pt idx="2380">
                  <c:v>0.98575155498352163</c:v>
                </c:pt>
                <c:pt idx="2381">
                  <c:v>0.985816092082894</c:v>
                </c:pt>
                <c:pt idx="2382">
                  <c:v>0.98588034105410627</c:v>
                </c:pt>
                <c:pt idx="2383">
                  <c:v>0.98594430314566717</c:v>
                </c:pt>
                <c:pt idx="2384">
                  <c:v>0.98600797960101716</c:v>
                </c:pt>
                <c:pt idx="2385">
                  <c:v>0.98607137165854641</c:v>
                </c:pt>
                <c:pt idx="2386">
                  <c:v>0.98613448055161268</c:v>
                </c:pt>
                <c:pt idx="2387">
                  <c:v>0.98619730750855772</c:v>
                </c:pt>
                <c:pt idx="2388">
                  <c:v>0.98625985375272562</c:v>
                </c:pt>
                <c:pt idx="2389">
                  <c:v>0.98632212050247903</c:v>
                </c:pt>
                <c:pt idx="2390">
                  <c:v>0.98638410897121809</c:v>
                </c:pt>
                <c:pt idx="2391">
                  <c:v>0.98644582036739537</c:v>
                </c:pt>
                <c:pt idx="2392">
                  <c:v>0.98650725589453592</c:v>
                </c:pt>
                <c:pt idx="2393">
                  <c:v>0.98656841675125151</c:v>
                </c:pt>
                <c:pt idx="2394">
                  <c:v>0.98662930413126038</c:v>
                </c:pt>
                <c:pt idx="2395">
                  <c:v>0.98668991922340277</c:v>
                </c:pt>
                <c:pt idx="2396">
                  <c:v>0.98675026321165826</c:v>
                </c:pt>
                <c:pt idx="2397">
                  <c:v>0.98681033727516343</c:v>
                </c:pt>
                <c:pt idx="2398">
                  <c:v>0.98687014258822814</c:v>
                </c:pt>
                <c:pt idx="2399">
                  <c:v>0.98692968032035355</c:v>
                </c:pt>
                <c:pt idx="2400">
                  <c:v>0.98698895163624789</c:v>
                </c:pt>
                <c:pt idx="2401">
                  <c:v>0.98704795769584397</c:v>
                </c:pt>
                <c:pt idx="2402">
                  <c:v>0.98710669965431619</c:v>
                </c:pt>
                <c:pt idx="2403">
                  <c:v>0.98716517866209741</c:v>
                </c:pt>
                <c:pt idx="2404">
                  <c:v>0.98722339586489516</c:v>
                </c:pt>
                <c:pt idx="2405">
                  <c:v>0.98728135240370929</c:v>
                </c:pt>
                <c:pt idx="2406">
                  <c:v>0.98733904941484829</c:v>
                </c:pt>
                <c:pt idx="2407">
                  <c:v>0.98739648802994551</c:v>
                </c:pt>
                <c:pt idx="2408">
                  <c:v>0.98745366937597723</c:v>
                </c:pt>
                <c:pt idx="2409">
                  <c:v>0.98751059457527801</c:v>
                </c:pt>
                <c:pt idx="2410">
                  <c:v>0.98756726474555756</c:v>
                </c:pt>
                <c:pt idx="2411">
                  <c:v>0.98762368099991793</c:v>
                </c:pt>
                <c:pt idx="2412">
                  <c:v>0.9876798444468694</c:v>
                </c:pt>
                <c:pt idx="2413">
                  <c:v>0.98773575619034715</c:v>
                </c:pt>
                <c:pt idx="2414">
                  <c:v>0.98779141732972808</c:v>
                </c:pt>
                <c:pt idx="2415">
                  <c:v>0.98784682895984666</c:v>
                </c:pt>
                <c:pt idx="2416">
                  <c:v>0.98790199217101171</c:v>
                </c:pt>
                <c:pt idx="2417">
                  <c:v>0.98795690804902281</c:v>
                </c:pt>
                <c:pt idx="2418">
                  <c:v>0.9880115776751861</c:v>
                </c:pt>
                <c:pt idx="2419">
                  <c:v>0.98806600212633178</c:v>
                </c:pt>
                <c:pt idx="2420">
                  <c:v>0.98812018247482847</c:v>
                </c:pt>
                <c:pt idx="2421">
                  <c:v>0.98817411978860115</c:v>
                </c:pt>
                <c:pt idx="2422">
                  <c:v>0.98822781513114655</c:v>
                </c:pt>
                <c:pt idx="2423">
                  <c:v>0.98828126956154949</c:v>
                </c:pt>
                <c:pt idx="2424">
                  <c:v>0.98833448413449854</c:v>
                </c:pt>
                <c:pt idx="2425">
                  <c:v>0.98838745990030241</c:v>
                </c:pt>
                <c:pt idx="2426">
                  <c:v>0.98844019790490656</c:v>
                </c:pt>
                <c:pt idx="2427">
                  <c:v>0.9884926991899079</c:v>
                </c:pt>
                <c:pt idx="2428">
                  <c:v>0.98854496479257203</c:v>
                </c:pt>
                <c:pt idx="2429">
                  <c:v>0.98859699574584803</c:v>
                </c:pt>
                <c:pt idx="2430">
                  <c:v>0.98864879307838538</c:v>
                </c:pt>
                <c:pt idx="2431">
                  <c:v>0.98870035781454868</c:v>
                </c:pt>
                <c:pt idx="2432">
                  <c:v>0.98875169097443427</c:v>
                </c:pt>
                <c:pt idx="2433">
                  <c:v>0.9888027935738859</c:v>
                </c:pt>
                <c:pt idx="2434">
                  <c:v>0.98885366662451024</c:v>
                </c:pt>
                <c:pt idx="2435">
                  <c:v>0.98890431113369237</c:v>
                </c:pt>
                <c:pt idx="2436">
                  <c:v>0.98895472810461149</c:v>
                </c:pt>
                <c:pt idx="2437">
                  <c:v>0.98900491853625705</c:v>
                </c:pt>
                <c:pt idx="2438">
                  <c:v>0.98905488342344372</c:v>
                </c:pt>
                <c:pt idx="2439">
                  <c:v>0.98910462375682673</c:v>
                </c:pt>
                <c:pt idx="2440">
                  <c:v>0.98915414052291872</c:v>
                </c:pt>
                <c:pt idx="2441">
                  <c:v>0.98920343470410299</c:v>
                </c:pt>
                <c:pt idx="2442">
                  <c:v>0.98925250727865044</c:v>
                </c:pt>
                <c:pt idx="2443">
                  <c:v>0.98930135922073503</c:v>
                </c:pt>
                <c:pt idx="2444">
                  <c:v>0.989349991500448</c:v>
                </c:pt>
                <c:pt idx="2445">
                  <c:v>0.98939840508381394</c:v>
                </c:pt>
                <c:pt idx="2446">
                  <c:v>0.98944660093280612</c:v>
                </c:pt>
                <c:pt idx="2447">
                  <c:v>0.98949458000536084</c:v>
                </c:pt>
                <c:pt idx="2448">
                  <c:v>0.98954234325539403</c:v>
                </c:pt>
                <c:pt idx="2449">
                  <c:v>0.9895898916328143</c:v>
                </c:pt>
                <c:pt idx="2450">
                  <c:v>0.98963722608354032</c:v>
                </c:pt>
                <c:pt idx="2451">
                  <c:v>0.98968434754951395</c:v>
                </c:pt>
                <c:pt idx="2452">
                  <c:v>0.98973125696871678</c:v>
                </c:pt>
                <c:pt idx="2453">
                  <c:v>0.98977795527518353</c:v>
                </c:pt>
                <c:pt idx="2454">
                  <c:v>0.98982444339901843</c:v>
                </c:pt>
                <c:pt idx="2455">
                  <c:v>0.98987072226640904</c:v>
                </c:pt>
                <c:pt idx="2456">
                  <c:v>0.9899167927996414</c:v>
                </c:pt>
                <c:pt idx="2457">
                  <c:v>0.98996265591711519</c:v>
                </c:pt>
                <c:pt idx="2458">
                  <c:v>0.99000831253335786</c:v>
                </c:pt>
                <c:pt idx="2459">
                  <c:v>0.9900537635590404</c:v>
                </c:pt>
                <c:pt idx="2460">
                  <c:v>0.99009900990099009</c:v>
                </c:pt>
                <c:pt idx="2461">
                  <c:v>0.99014405246220727</c:v>
                </c:pt>
                <c:pt idx="2462">
                  <c:v>0.99018889214187855</c:v>
                </c:pt>
                <c:pt idx="2463">
                  <c:v>0.9902335298353917</c:v>
                </c:pt>
                <c:pt idx="2464">
                  <c:v>0.99027796643435051</c:v>
                </c:pt>
                <c:pt idx="2465">
                  <c:v>0.990322202826589</c:v>
                </c:pt>
                <c:pt idx="2466">
                  <c:v>0.99036623989618555</c:v>
                </c:pt>
                <c:pt idx="2467">
                  <c:v>0.9904100785234774</c:v>
                </c:pt>
                <c:pt idx="2468">
                  <c:v>0.99045371958507578</c:v>
                </c:pt>
                <c:pt idx="2469">
                  <c:v>0.99049716395387899</c:v>
                </c:pt>
                <c:pt idx="2470">
                  <c:v>0.99054041249908764</c:v>
                </c:pt>
                <c:pt idx="2471">
                  <c:v>0.99058346608621795</c:v>
                </c:pt>
                <c:pt idx="2472">
                  <c:v>0.99062632557711683</c:v>
                </c:pt>
                <c:pt idx="2473">
                  <c:v>0.99066899182997581</c:v>
                </c:pt>
                <c:pt idx="2474">
                  <c:v>0.99071146569934454</c:v>
                </c:pt>
                <c:pt idx="2475">
                  <c:v>0.99075374803614535</c:v>
                </c:pt>
                <c:pt idx="2476">
                  <c:v>0.99079583968768747</c:v>
                </c:pt>
                <c:pt idx="2477">
                  <c:v>0.99083774149768011</c:v>
                </c:pt>
                <c:pt idx="2478">
                  <c:v>0.99087945430624802</c:v>
                </c:pt>
                <c:pt idx="2479">
                  <c:v>0.99092097894994324</c:v>
                </c:pt>
                <c:pt idx="2480">
                  <c:v>0.99096231626176046</c:v>
                </c:pt>
                <c:pt idx="2481">
                  <c:v>0.99100346707115039</c:v>
                </c:pt>
                <c:pt idx="2482">
                  <c:v>0.99104443220403404</c:v>
                </c:pt>
                <c:pt idx="2483">
                  <c:v>0.99108521248281534</c:v>
                </c:pt>
                <c:pt idx="2484">
                  <c:v>0.99112580872639544</c:v>
                </c:pt>
                <c:pt idx="2485">
                  <c:v>0.99116622175018676</c:v>
                </c:pt>
                <c:pt idx="2486">
                  <c:v>0.99120645236612559</c:v>
                </c:pt>
                <c:pt idx="2487">
                  <c:v>0.99124650138268733</c:v>
                </c:pt>
                <c:pt idx="2488">
                  <c:v>0.99128636960489758</c:v>
                </c:pt>
                <c:pt idx="2489">
                  <c:v>0.99132605783434768</c:v>
                </c:pt>
                <c:pt idx="2490">
                  <c:v>0.9913655668692074</c:v>
                </c:pt>
                <c:pt idx="2491">
                  <c:v>0.99140489750423855</c:v>
                </c:pt>
                <c:pt idx="2492">
                  <c:v>0.99144405053080709</c:v>
                </c:pt>
                <c:pt idx="2493">
                  <c:v>0.99148302673689914</c:v>
                </c:pt>
                <c:pt idx="2494">
                  <c:v>0.99152182690713098</c:v>
                </c:pt>
                <c:pt idx="2495">
                  <c:v>0.99156045182276509</c:v>
                </c:pt>
                <c:pt idx="2496">
                  <c:v>0.99159890226172143</c:v>
                </c:pt>
                <c:pt idx="2497">
                  <c:v>0.99163717899859172</c:v>
                </c:pt>
                <c:pt idx="2498">
                  <c:v>0.99167528280465189</c:v>
                </c:pt>
                <c:pt idx="2499">
                  <c:v>0.99171321444787541</c:v>
                </c:pt>
                <c:pt idx="2500">
                  <c:v>0.99175097469294637</c:v>
                </c:pt>
                <c:pt idx="2501">
                  <c:v>0.99178856430127249</c:v>
                </c:pt>
                <c:pt idx="2502">
                  <c:v>0.99182598403099775</c:v>
                </c:pt>
                <c:pt idx="2503">
                  <c:v>0.99186323463701553</c:v>
                </c:pt>
                <c:pt idx="2504">
                  <c:v>0.99190031687098146</c:v>
                </c:pt>
                <c:pt idx="2505">
                  <c:v>0.99193723148132651</c:v>
                </c:pt>
                <c:pt idx="2506">
                  <c:v>0.99197397921326869</c:v>
                </c:pt>
                <c:pt idx="2507">
                  <c:v>0.99201056080882788</c:v>
                </c:pt>
                <c:pt idx="2508">
                  <c:v>0.99204697700683553</c:v>
                </c:pt>
                <c:pt idx="2509">
                  <c:v>0.99208322854295061</c:v>
                </c:pt>
                <c:pt idx="2510">
                  <c:v>0.99211931614966975</c:v>
                </c:pt>
                <c:pt idx="2511">
                  <c:v>0.99215524055634086</c:v>
                </c:pt>
                <c:pt idx="2512">
                  <c:v>0.99219100248917524</c:v>
                </c:pt>
                <c:pt idx="2513">
                  <c:v>0.99222660267126128</c:v>
                </c:pt>
                <c:pt idx="2514">
                  <c:v>0.99226204182257471</c:v>
                </c:pt>
                <c:pt idx="2515">
                  <c:v>0.99229732065999299</c:v>
                </c:pt>
                <c:pt idx="2516">
                  <c:v>0.99233243989730713</c:v>
                </c:pt>
                <c:pt idx="2517">
                  <c:v>0.99236740024523307</c:v>
                </c:pt>
                <c:pt idx="2518">
                  <c:v>0.99240220241142563</c:v>
                </c:pt>
                <c:pt idx="2519">
                  <c:v>0.99243684710048918</c:v>
                </c:pt>
                <c:pt idx="2520">
                  <c:v>0.99247133501399121</c:v>
                </c:pt>
                <c:pt idx="2521">
                  <c:v>0.99250566685047314</c:v>
                </c:pt>
                <c:pt idx="2522">
                  <c:v>0.99253984330546374</c:v>
                </c:pt>
                <c:pt idx="2523">
                  <c:v>0.99257386507149037</c:v>
                </c:pt>
                <c:pt idx="2524">
                  <c:v>0.99260773283809145</c:v>
                </c:pt>
                <c:pt idx="2525">
                  <c:v>0.99264144729182813</c:v>
                </c:pt>
                <c:pt idx="2526">
                  <c:v>0.99267500911629647</c:v>
                </c:pt>
                <c:pt idx="2527">
                  <c:v>0.99270841899213957</c:v>
                </c:pt>
                <c:pt idx="2528">
                  <c:v>0.992741677597059</c:v>
                </c:pt>
                <c:pt idx="2529">
                  <c:v>0.9927747856058271</c:v>
                </c:pt>
                <c:pt idx="2530">
                  <c:v>0.99280774369029834</c:v>
                </c:pt>
                <c:pt idx="2531">
                  <c:v>0.9928405525194216</c:v>
                </c:pt>
                <c:pt idx="2532">
                  <c:v>0.99287321275925144</c:v>
                </c:pt>
                <c:pt idx="2533">
                  <c:v>0.99290572507296015</c:v>
                </c:pt>
                <c:pt idx="2534">
                  <c:v>0.99293809012084921</c:v>
                </c:pt>
                <c:pt idx="2535">
                  <c:v>0.99297030856036084</c:v>
                </c:pt>
                <c:pt idx="2536">
                  <c:v>0.99300238104608951</c:v>
                </c:pt>
                <c:pt idx="2537">
                  <c:v>0.9930343082297941</c:v>
                </c:pt>
                <c:pt idx="2538">
                  <c:v>0.9930660907604083</c:v>
                </c:pt>
                <c:pt idx="2539">
                  <c:v>0.99309772928405371</c:v>
                </c:pt>
                <c:pt idx="2540">
                  <c:v>0.99312922444404905</c:v>
                </c:pt>
                <c:pt idx="2541">
                  <c:v>0.99316057688092352</c:v>
                </c:pt>
                <c:pt idx="2542">
                  <c:v>0.99319178723242685</c:v>
                </c:pt>
                <c:pt idx="2543">
                  <c:v>0.99322285613354178</c:v>
                </c:pt>
                <c:pt idx="2544">
                  <c:v>0.99325378421649402</c:v>
                </c:pt>
                <c:pt idx="2545">
                  <c:v>0.99328457211076393</c:v>
                </c:pt>
                <c:pt idx="2546">
                  <c:v>0.99331522044309883</c:v>
                </c:pt>
                <c:pt idx="2547">
                  <c:v>0.99334572983752212</c:v>
                </c:pt>
                <c:pt idx="2548">
                  <c:v>0.99337610091534612</c:v>
                </c:pt>
                <c:pt idx="2549">
                  <c:v>0.9934063342951821</c:v>
                </c:pt>
                <c:pt idx="2550">
                  <c:v>0.99343643059295195</c:v>
                </c:pt>
                <c:pt idx="2551">
                  <c:v>0.99346639042189833</c:v>
                </c:pt>
                <c:pt idx="2552">
                  <c:v>0.99349621439259717</c:v>
                </c:pt>
                <c:pt idx="2553">
                  <c:v>0.99352590311296662</c:v>
                </c:pt>
                <c:pt idx="2554">
                  <c:v>0.9935554571882792</c:v>
                </c:pt>
                <c:pt idx="2555">
                  <c:v>0.99358487722117261</c:v>
                </c:pt>
                <c:pt idx="2556">
                  <c:v>0.99361416381166034</c:v>
                </c:pt>
                <c:pt idx="2557">
                  <c:v>0.99364331755714141</c:v>
                </c:pt>
                <c:pt idx="2558">
                  <c:v>0.99367233905241326</c:v>
                </c:pt>
                <c:pt idx="2559">
                  <c:v>0.99370122888968049</c:v>
                </c:pt>
                <c:pt idx="2560">
                  <c:v>0.99372998765856613</c:v>
                </c:pt>
                <c:pt idx="2561">
                  <c:v>0.9937586159461228</c:v>
                </c:pt>
                <c:pt idx="2562">
                  <c:v>0.99378711433684253</c:v>
                </c:pt>
                <c:pt idx="2563">
                  <c:v>0.99381548341266768</c:v>
                </c:pt>
                <c:pt idx="2564">
                  <c:v>0.99384372375300123</c:v>
                </c:pt>
                <c:pt idx="2565">
                  <c:v>0.99387183593471751</c:v>
                </c:pt>
                <c:pt idx="2566">
                  <c:v>0.99389982053217252</c:v>
                </c:pt>
                <c:pt idx="2567">
                  <c:v>0.99392767811721383</c:v>
                </c:pt>
                <c:pt idx="2568">
                  <c:v>0.99395540925919168</c:v>
                </c:pt>
                <c:pt idx="2569">
                  <c:v>0.99398301452496918</c:v>
                </c:pt>
                <c:pt idx="2570">
                  <c:v>0.99401049447893208</c:v>
                </c:pt>
                <c:pt idx="2571">
                  <c:v>0.99403784968299913</c:v>
                </c:pt>
                <c:pt idx="2572">
                  <c:v>0.99406508069663302</c:v>
                </c:pt>
                <c:pt idx="2573">
                  <c:v>0.99409218807684929</c:v>
                </c:pt>
                <c:pt idx="2574">
                  <c:v>0.99411917237822778</c:v>
                </c:pt>
                <c:pt idx="2575">
                  <c:v>0.99414603415292135</c:v>
                </c:pt>
                <c:pt idx="2576">
                  <c:v>0.99417277395066739</c:v>
                </c:pt>
                <c:pt idx="2577">
                  <c:v>0.99419939231879662</c:v>
                </c:pt>
                <c:pt idx="2578">
                  <c:v>0.99422588980224402</c:v>
                </c:pt>
                <c:pt idx="2579">
                  <c:v>0.99425226694355762</c:v>
                </c:pt>
                <c:pt idx="2580">
                  <c:v>0.99427852428290964</c:v>
                </c:pt>
                <c:pt idx="2581">
                  <c:v>0.99430466235810566</c:v>
                </c:pt>
                <c:pt idx="2582">
                  <c:v>0.99433068170459493</c:v>
                </c:pt>
                <c:pt idx="2583">
                  <c:v>0.9943565828554789</c:v>
                </c:pt>
                <c:pt idx="2584">
                  <c:v>0.99438236634152322</c:v>
                </c:pt>
                <c:pt idx="2585">
                  <c:v>0.99440803269116518</c:v>
                </c:pt>
                <c:pt idx="2586">
                  <c:v>0.99443358243052493</c:v>
                </c:pt>
                <c:pt idx="2587">
                  <c:v>0.99445901608341447</c:v>
                </c:pt>
                <c:pt idx="2588">
                  <c:v>0.99448433417134752</c:v>
                </c:pt>
                <c:pt idx="2589">
                  <c:v>0.99450953721354851</c:v>
                </c:pt>
                <c:pt idx="2590">
                  <c:v>0.99453462572696327</c:v>
                </c:pt>
                <c:pt idx="2591">
                  <c:v>0.99455960022626788</c:v>
                </c:pt>
                <c:pt idx="2592">
                  <c:v>0.99458446122387745</c:v>
                </c:pt>
                <c:pt idx="2593">
                  <c:v>0.9946092092299571</c:v>
                </c:pt>
                <c:pt idx="2594">
                  <c:v>0.99463384475242989</c:v>
                </c:pt>
                <c:pt idx="2595">
                  <c:v>0.99465836829698762</c:v>
                </c:pt>
                <c:pt idx="2596">
                  <c:v>0.99468278036709878</c:v>
                </c:pt>
                <c:pt idx="2597">
                  <c:v>0.99470708146401832</c:v>
                </c:pt>
                <c:pt idx="2598">
                  <c:v>0.9947312720867979</c:v>
                </c:pt>
                <c:pt idx="2599">
                  <c:v>0.99475535273229343</c:v>
                </c:pt>
                <c:pt idx="2600">
                  <c:v>0.99477932389517598</c:v>
                </c:pt>
                <c:pt idx="2601">
                  <c:v>0.99480318606793927</c:v>
                </c:pt>
                <c:pt idx="2602">
                  <c:v>0.99482693974091041</c:v>
                </c:pt>
                <c:pt idx="2603">
                  <c:v>0.99485058540225768</c:v>
                </c:pt>
                <c:pt idx="2604">
                  <c:v>0.99487412353800053</c:v>
                </c:pt>
                <c:pt idx="2605">
                  <c:v>0.99489755463201801</c:v>
                </c:pt>
                <c:pt idx="2606">
                  <c:v>0.99492087916605798</c:v>
                </c:pt>
                <c:pt idx="2607">
                  <c:v>0.99494409761974634</c:v>
                </c:pt>
                <c:pt idx="2608">
                  <c:v>0.99496721047059533</c:v>
                </c:pt>
                <c:pt idx="2609">
                  <c:v>0.99499021819401312</c:v>
                </c:pt>
                <c:pt idx="2610">
                  <c:v>0.99501312126331209</c:v>
                </c:pt>
                <c:pt idx="2611">
                  <c:v>0.99503592014971809</c:v>
                </c:pt>
                <c:pt idx="2612">
                  <c:v>0.99505861532237894</c:v>
                </c:pt>
                <c:pt idx="2613">
                  <c:v>0.99508120724837357</c:v>
                </c:pt>
                <c:pt idx="2614">
                  <c:v>0.99510369639272034</c:v>
                </c:pt>
                <c:pt idx="2615">
                  <c:v>0.99512608321838547</c:v>
                </c:pt>
                <c:pt idx="2616">
                  <c:v>0.99514836818629293</c:v>
                </c:pt>
                <c:pt idx="2617">
                  <c:v>0.99517055175533153</c:v>
                </c:pt>
                <c:pt idx="2618">
                  <c:v>0.99519263438236438</c:v>
                </c:pt>
                <c:pt idx="2619">
                  <c:v>0.99521461652223797</c:v>
                </c:pt>
                <c:pt idx="2620">
                  <c:v>0.99523649862778929</c:v>
                </c:pt>
                <c:pt idx="2621">
                  <c:v>0.99525828114985515</c:v>
                </c:pt>
                <c:pt idx="2622">
                  <c:v>0.99527996453728085</c:v>
                </c:pt>
                <c:pt idx="2623">
                  <c:v>0.99530154923692848</c:v>
                </c:pt>
                <c:pt idx="2624">
                  <c:v>0.99532303569368485</c:v>
                </c:pt>
                <c:pt idx="2625">
                  <c:v>0.9953444243504701</c:v>
                </c:pt>
                <c:pt idx="2626">
                  <c:v>0.9953657156482465</c:v>
                </c:pt>
                <c:pt idx="2627">
                  <c:v>0.99538691002602631</c:v>
                </c:pt>
                <c:pt idx="2628">
                  <c:v>0.99540800792087958</c:v>
                </c:pt>
                <c:pt idx="2629">
                  <c:v>0.99542900976794391</c:v>
                </c:pt>
                <c:pt idx="2630">
                  <c:v>0.99544991600043087</c:v>
                </c:pt>
                <c:pt idx="2631">
                  <c:v>0.99547072704963524</c:v>
                </c:pt>
                <c:pt idx="2632">
                  <c:v>0.99549144334494322</c:v>
                </c:pt>
                <c:pt idx="2633">
                  <c:v>0.99551206531383951</c:v>
                </c:pt>
                <c:pt idx="2634">
                  <c:v>0.99553259338191691</c:v>
                </c:pt>
                <c:pt idx="2635">
                  <c:v>0.99555302797288303</c:v>
                </c:pt>
                <c:pt idx="2636">
                  <c:v>0.99557336950856923</c:v>
                </c:pt>
                <c:pt idx="2637">
                  <c:v>0.99559361840893779</c:v>
                </c:pt>
                <c:pt idx="2638">
                  <c:v>0.99561377509209059</c:v>
                </c:pt>
                <c:pt idx="2639">
                  <c:v>0.99563383997427701</c:v>
                </c:pt>
                <c:pt idx="2640">
                  <c:v>0.99565381346990101</c:v>
                </c:pt>
                <c:pt idx="2641">
                  <c:v>0.99567369599152977</c:v>
                </c:pt>
                <c:pt idx="2642">
                  <c:v>0.99569348794990165</c:v>
                </c:pt>
                <c:pt idx="2643">
                  <c:v>0.99571318975393341</c:v>
                </c:pt>
                <c:pt idx="2644">
                  <c:v>0.9957328018107281</c:v>
                </c:pt>
                <c:pt idx="2645">
                  <c:v>0.99575232452558315</c:v>
                </c:pt>
                <c:pt idx="2646">
                  <c:v>0.9957717583019976</c:v>
                </c:pt>
                <c:pt idx="2647">
                  <c:v>0.99579110354168021</c:v>
                </c:pt>
                <c:pt idx="2648">
                  <c:v>0.99581036064455719</c:v>
                </c:pt>
                <c:pt idx="2649">
                  <c:v>0.99582953000877927</c:v>
                </c:pt>
                <c:pt idx="2650">
                  <c:v>0.9958486120307295</c:v>
                </c:pt>
                <c:pt idx="2651">
                  <c:v>0.99586760710503153</c:v>
                </c:pt>
                <c:pt idx="2652">
                  <c:v>0.99588651562455588</c:v>
                </c:pt>
                <c:pt idx="2653">
                  <c:v>0.99590533798042846</c:v>
                </c:pt>
                <c:pt idx="2654">
                  <c:v>0.99592407456203735</c:v>
                </c:pt>
                <c:pt idx="2655">
                  <c:v>0.99594272575704113</c:v>
                </c:pt>
                <c:pt idx="2656">
                  <c:v>0.99596129195137517</c:v>
                </c:pt>
                <c:pt idx="2657">
                  <c:v>0.99597977352926004</c:v>
                </c:pt>
                <c:pt idx="2658">
                  <c:v>0.99599817087320786</c:v>
                </c:pt>
                <c:pt idx="2659">
                  <c:v>0.9960164843640309</c:v>
                </c:pt>
                <c:pt idx="2660">
                  <c:v>0.99603471438084767</c:v>
                </c:pt>
                <c:pt idx="2661">
                  <c:v>0.99605286130109105</c:v>
                </c:pt>
                <c:pt idx="2662">
                  <c:v>0.99607092550051435</c:v>
                </c:pt>
                <c:pt idx="2663">
                  <c:v>0.99608890735320055</c:v>
                </c:pt>
                <c:pt idx="2664">
                  <c:v>0.99610680723156708</c:v>
                </c:pt>
                <c:pt idx="2665">
                  <c:v>0.99612462550637504</c:v>
                </c:pt>
                <c:pt idx="2666">
                  <c:v>0.99614236254673494</c:v>
                </c:pt>
                <c:pt idx="2667">
                  <c:v>0.99616001872011462</c:v>
                </c:pt>
                <c:pt idx="2668">
                  <c:v>0.99617759439234588</c:v>
                </c:pt>
                <c:pt idx="2669">
                  <c:v>0.99619508992763162</c:v>
                </c:pt>
                <c:pt idx="2670">
                  <c:v>0.99621250568855269</c:v>
                </c:pt>
                <c:pt idx="2671">
                  <c:v>0.99622984203607567</c:v>
                </c:pt>
                <c:pt idx="2672">
                  <c:v>0.99624709932955857</c:v>
                </c:pt>
                <c:pt idx="2673">
                  <c:v>0.99626427792675865</c:v>
                </c:pt>
                <c:pt idx="2674">
                  <c:v>0.99628137818383944</c:v>
                </c:pt>
                <c:pt idx="2675">
                  <c:v>0.99629840045537676</c:v>
                </c:pt>
                <c:pt idx="2676">
                  <c:v>0.99631534509436603</c:v>
                </c:pt>
                <c:pt idx="2677">
                  <c:v>0.99633221245222969</c:v>
                </c:pt>
                <c:pt idx="2678">
                  <c:v>0.996349002878823</c:v>
                </c:pt>
                <c:pt idx="2679">
                  <c:v>0.99636571672244123</c:v>
                </c:pt>
                <c:pt idx="2680">
                  <c:v>0.9963823543298268</c:v>
                </c:pt>
                <c:pt idx="2681">
                  <c:v>0.99639891604617492</c:v>
                </c:pt>
                <c:pt idx="2682">
                  <c:v>0.99641540221514158</c:v>
                </c:pt>
                <c:pt idx="2683">
                  <c:v>0.99643181317884943</c:v>
                </c:pt>
                <c:pt idx="2684">
                  <c:v>0.99644814927789416</c:v>
                </c:pt>
                <c:pt idx="2685">
                  <c:v>0.99646441085135196</c:v>
                </c:pt>
                <c:pt idx="2686">
                  <c:v>0.99648059823678548</c:v>
                </c:pt>
                <c:pt idx="2687">
                  <c:v>0.99649671177025057</c:v>
                </c:pt>
                <c:pt idx="2688">
                  <c:v>0.99651275178630261</c:v>
                </c:pt>
                <c:pt idx="2689">
                  <c:v>0.9965287186180033</c:v>
                </c:pt>
                <c:pt idx="2690">
                  <c:v>0.99654461259692717</c:v>
                </c:pt>
                <c:pt idx="2691">
                  <c:v>0.9965604340531673</c:v>
                </c:pt>
                <c:pt idx="2692">
                  <c:v>0.99657618331534303</c:v>
                </c:pt>
                <c:pt idx="2693">
                  <c:v>0.9965918607106049</c:v>
                </c:pt>
                <c:pt idx="2694">
                  <c:v>0.99660746656464227</c:v>
                </c:pt>
                <c:pt idx="2695">
                  <c:v>0.9966230012016889</c:v>
                </c:pt>
                <c:pt idx="2696">
                  <c:v>0.99663846494452946</c:v>
                </c:pt>
                <c:pt idx="2697">
                  <c:v>0.99665385811450602</c:v>
                </c:pt>
                <c:pt idx="2698">
                  <c:v>0.99666918103152369</c:v>
                </c:pt>
                <c:pt idx="2699">
                  <c:v>0.99668443401405804</c:v>
                </c:pt>
                <c:pt idx="2700">
                  <c:v>0.99669961737915969</c:v>
                </c:pt>
                <c:pt idx="2701">
                  <c:v>0.99671473144246214</c:v>
                </c:pt>
                <c:pt idx="2702">
                  <c:v>0.99672977651818684</c:v>
                </c:pt>
                <c:pt idx="2703">
                  <c:v>0.99674475291914977</c:v>
                </c:pt>
                <c:pt idx="2704">
                  <c:v>0.99675966095676749</c:v>
                </c:pt>
                <c:pt idx="2705">
                  <c:v>0.99677450094106279</c:v>
                </c:pt>
                <c:pt idx="2706">
                  <c:v>0.99678927318067156</c:v>
                </c:pt>
                <c:pt idx="2707">
                  <c:v>0.99680397798284859</c:v>
                </c:pt>
                <c:pt idx="2708">
                  <c:v>0.99681861565347274</c:v>
                </c:pt>
                <c:pt idx="2709">
                  <c:v>0.99683318649705444</c:v>
                </c:pt>
                <c:pt idx="2710">
                  <c:v>0.99684769081673985</c:v>
                </c:pt>
                <c:pt idx="2711">
                  <c:v>0.99686212891431847</c:v>
                </c:pt>
                <c:pt idx="2712">
                  <c:v>0.9968765010902283</c:v>
                </c:pt>
                <c:pt idx="2713">
                  <c:v>0.99689080764356153</c:v>
                </c:pt>
                <c:pt idx="2714">
                  <c:v>0.99690504887207076</c:v>
                </c:pt>
                <c:pt idx="2715">
                  <c:v>0.99691922507217445</c:v>
                </c:pt>
                <c:pt idx="2716">
                  <c:v>0.99693333653896365</c:v>
                </c:pt>
                <c:pt idx="2717">
                  <c:v>0.99694738356620682</c:v>
                </c:pt>
                <c:pt idx="2718">
                  <c:v>0.99696136644635547</c:v>
                </c:pt>
                <c:pt idx="2719">
                  <c:v>0.99697528547055136</c:v>
                </c:pt>
                <c:pt idx="2720">
                  <c:v>0.99698914092863056</c:v>
                </c:pt>
                <c:pt idx="2721">
                  <c:v>0.9970029331091298</c:v>
                </c:pt>
                <c:pt idx="2722">
                  <c:v>0.99701666229929264</c:v>
                </c:pt>
                <c:pt idx="2723">
                  <c:v>0.99703032878507447</c:v>
                </c:pt>
                <c:pt idx="2724">
                  <c:v>0.99704393285114812</c:v>
                </c:pt>
                <c:pt idx="2725">
                  <c:v>0.99705747478090989</c:v>
                </c:pt>
                <c:pt idx="2726">
                  <c:v>0.99707095485648489</c:v>
                </c:pt>
                <c:pt idx="2727">
                  <c:v>0.99708437335873257</c:v>
                </c:pt>
                <c:pt idx="2728">
                  <c:v>0.99711102676038954</c:v>
                </c:pt>
                <c:pt idx="2729">
                  <c:v>0.99712426221523931</c:v>
                </c:pt>
                <c:pt idx="2730">
                  <c:v>0.99713743720765435</c:v>
                </c:pt>
                <c:pt idx="2731">
                  <c:v>0.99715055201224867</c:v>
                </c:pt>
                <c:pt idx="2732">
                  <c:v>0.99716360690240369</c:v>
                </c:pt>
                <c:pt idx="2733">
                  <c:v>0.99717660215027326</c:v>
                </c:pt>
                <c:pt idx="2734">
                  <c:v>0.99718953802678978</c:v>
                </c:pt>
                <c:pt idx="2735">
                  <c:v>0.99720241480166871</c:v>
                </c:pt>
                <c:pt idx="2736">
                  <c:v>0.99722799211932489</c:v>
                </c:pt>
                <c:pt idx="2737">
                  <c:v>0.99724069319549835</c:v>
                </c:pt>
                <c:pt idx="2738">
                  <c:v>0.99725333623683676</c:v>
                </c:pt>
                <c:pt idx="2739">
                  <c:v>0.99727844926867248</c:v>
                </c:pt>
                <c:pt idx="2740">
                  <c:v>0.99729091978304474</c:v>
                </c:pt>
                <c:pt idx="2741">
                  <c:v>0.99730333331034182</c:v>
                </c:pt>
                <c:pt idx="2742">
                  <c:v>0.99731569010956767</c:v>
                </c:pt>
                <c:pt idx="2743">
                  <c:v>0.99732799043856157</c:v>
                </c:pt>
                <c:pt idx="2744">
                  <c:v>0.99734023455400367</c:v>
                </c:pt>
                <c:pt idx="2745">
                  <c:v>0.99736455516518896</c:v>
                </c:pt>
                <c:pt idx="2746">
                  <c:v>0.99737663216854255</c:v>
                </c:pt>
                <c:pt idx="2747">
                  <c:v>0.9973886539735759</c:v>
                </c:pt>
                <c:pt idx="2748">
                  <c:v>0.99741253299139498</c:v>
                </c:pt>
                <c:pt idx="2749">
                  <c:v>0.99742439070272026</c:v>
                </c:pt>
                <c:pt idx="2750">
                  <c:v>0.99743619421281426</c:v>
                </c:pt>
                <c:pt idx="2751">
                  <c:v>0.99744794376815171</c:v>
                </c:pt>
                <c:pt idx="2752">
                  <c:v>0.99745963961409823</c:v>
                </c:pt>
                <c:pt idx="2753">
                  <c:v>0.99748287115376477</c:v>
                </c:pt>
                <c:pt idx="2754">
                  <c:v>0.99749440733271422</c:v>
                </c:pt>
                <c:pt idx="2755">
                  <c:v>0.99750589077274143</c:v>
                </c:pt>
                <c:pt idx="2756">
                  <c:v>0.9975173217137393</c:v>
                </c:pt>
                <c:pt idx="2757">
                  <c:v>0.99754002705282185</c:v>
                </c:pt>
                <c:pt idx="2758">
                  <c:v>0.99755130192531072</c:v>
                </c:pt>
                <c:pt idx="2759">
                  <c:v>0.99757369725419176</c:v>
                </c:pt>
                <c:pt idx="2760">
                  <c:v>0.99758481817860656</c:v>
                </c:pt>
                <c:pt idx="2761">
                  <c:v>0.99759588825326306</c:v>
                </c:pt>
                <c:pt idx="2762">
                  <c:v>0.99760690770954519</c:v>
                </c:pt>
                <c:pt idx="2763">
                  <c:v>0.99761787677779401</c:v>
                </c:pt>
                <c:pt idx="2764">
                  <c:v>0.99762879568731333</c:v>
                </c:pt>
                <c:pt idx="2765">
                  <c:v>0.99763966466637277</c:v>
                </c:pt>
                <c:pt idx="2766">
                  <c:v>0.99765048394221345</c:v>
                </c:pt>
                <c:pt idx="2767">
                  <c:v>0.99766125374105197</c:v>
                </c:pt>
                <c:pt idx="2768">
                  <c:v>0.99768264580749588</c:v>
                </c:pt>
                <c:pt idx="2769">
                  <c:v>0.9976932685224541</c:v>
                </c:pt>
                <c:pt idx="2770">
                  <c:v>0.99770384265512435</c:v>
                </c:pt>
                <c:pt idx="2771">
                  <c:v>0.99771436842666972</c:v>
                </c:pt>
                <c:pt idx="2772">
                  <c:v>0.99772484605725553</c:v>
                </c:pt>
                <c:pt idx="2773">
                  <c:v>0.99773527576605414</c:v>
                </c:pt>
                <c:pt idx="2774">
                  <c:v>0.99774565777124891</c:v>
                </c:pt>
                <c:pt idx="2775">
                  <c:v>0.99775599229003986</c:v>
                </c:pt>
                <c:pt idx="2776">
                  <c:v>0.99778671308530986</c:v>
                </c:pt>
                <c:pt idx="2777">
                  <c:v>0.99779685981094612</c:v>
                </c:pt>
                <c:pt idx="2778">
                  <c:v>0.99781701422854674</c:v>
                </c:pt>
                <c:pt idx="2779">
                  <c:v>0.99782702234232701</c:v>
                </c:pt>
                <c:pt idx="2780">
                  <c:v>0.99783698467238491</c:v>
                </c:pt>
                <c:pt idx="2781">
                  <c:v>0.99784690142725496</c:v>
                </c:pt>
                <c:pt idx="2782">
                  <c:v>0.99785677281453145</c:v>
                </c:pt>
                <c:pt idx="2783">
                  <c:v>0.99786659904087016</c:v>
                </c:pt>
                <c:pt idx="2784">
                  <c:v>0.99788611683269768</c:v>
                </c:pt>
                <c:pt idx="2785">
                  <c:v>0.99789580880684958</c:v>
                </c:pt>
                <c:pt idx="2786">
                  <c:v>0.99790545643739803</c:v>
                </c:pt>
                <c:pt idx="2787">
                  <c:v>0.99791505992637486</c:v>
                </c:pt>
                <c:pt idx="2788">
                  <c:v>0.99792461947489886</c:v>
                </c:pt>
                <c:pt idx="2789">
                  <c:v>0.99794360755052491</c:v>
                </c:pt>
                <c:pt idx="2790">
                  <c:v>0.99795303647533773</c:v>
                </c:pt>
                <c:pt idx="2791">
                  <c:v>0.99796242225512732</c:v>
                </c:pt>
                <c:pt idx="2792">
                  <c:v>0.99797176508651009</c:v>
                </c:pt>
                <c:pt idx="2793">
                  <c:v>0.99798106516521301</c:v>
                </c:pt>
                <c:pt idx="2794">
                  <c:v>0.99799032268607912</c:v>
                </c:pt>
                <c:pt idx="2795">
                  <c:v>0.99799953784307027</c:v>
                </c:pt>
                <c:pt idx="2796">
                  <c:v>0.99800871082927178</c:v>
                </c:pt>
                <c:pt idx="2797">
                  <c:v>0.99801784183689579</c:v>
                </c:pt>
                <c:pt idx="2798">
                  <c:v>0.99803597868091976</c:v>
                </c:pt>
                <c:pt idx="2799">
                  <c:v>0.99804498489741444</c:v>
                </c:pt>
                <c:pt idx="2800">
                  <c:v>0.99805394989552898</c:v>
                </c:pt>
                <c:pt idx="2801">
                  <c:v>0.99806287386316939</c:v>
                </c:pt>
                <c:pt idx="2802">
                  <c:v>0.99808059945440353</c:v>
                </c:pt>
                <c:pt idx="2803">
                  <c:v>0.99808940144957436</c:v>
                </c:pt>
                <c:pt idx="2804">
                  <c:v>0.99809816315743238</c:v>
                </c:pt>
                <c:pt idx="2805">
                  <c:v>0.9981155664451532</c:v>
                </c:pt>
                <c:pt idx="2806">
                  <c:v>0.99812420838991445</c:v>
                </c:pt>
                <c:pt idx="2807">
                  <c:v>0.99813281077716609</c:v>
                </c:pt>
                <c:pt idx="2808">
                  <c:v>0.99814137378729972</c:v>
                </c:pt>
                <c:pt idx="2809">
                  <c:v>0.99814989759989048</c:v>
                </c:pt>
                <c:pt idx="2810">
                  <c:v>0.99816682834668291</c:v>
                </c:pt>
                <c:pt idx="2811">
                  <c:v>0.99819193492813507</c:v>
                </c:pt>
                <c:pt idx="2812">
                  <c:v>0.99820022728128166</c:v>
                </c:pt>
                <c:pt idx="2813">
                  <c:v>0.99820848167135501</c:v>
                </c:pt>
                <c:pt idx="2814">
                  <c:v>0.99822487725419018</c:v>
                </c:pt>
                <c:pt idx="2815">
                  <c:v>0.99823301879094983</c:v>
                </c:pt>
                <c:pt idx="2816">
                  <c:v>0.99825722043025999</c:v>
                </c:pt>
                <c:pt idx="2817">
                  <c:v>0.99826521388400069</c:v>
                </c:pt>
                <c:pt idx="2818">
                  <c:v>0.99828109116012864</c:v>
                </c:pt>
                <c:pt idx="2819">
                  <c:v>0.99828897531575245</c:v>
                </c:pt>
                <c:pt idx="2820">
                  <c:v>0.99829682337064951</c:v>
                </c:pt>
                <c:pt idx="2821">
                  <c:v>0.99832785786652767</c:v>
                </c:pt>
                <c:pt idx="2822">
                  <c:v>0.99833552787396151</c:v>
                </c:pt>
                <c:pt idx="2823">
                  <c:v>0.99834316275795698</c:v>
                </c:pt>
                <c:pt idx="2824">
                  <c:v>0.99837335425481954</c:v>
                </c:pt>
                <c:pt idx="2825">
                  <c:v>0.99839563686429467</c:v>
                </c:pt>
                <c:pt idx="2826">
                  <c:v>0.99841032237154204</c:v>
                </c:pt>
                <c:pt idx="2827">
                  <c:v>0.99842487366735433</c:v>
                </c:pt>
                <c:pt idx="2828">
                  <c:v>0.99843209936849908</c:v>
                </c:pt>
                <c:pt idx="2829">
                  <c:v>0.99843929197443004</c:v>
                </c:pt>
                <c:pt idx="2830">
                  <c:v>0.99844645163625589</c:v>
                </c:pt>
                <c:pt idx="2831">
                  <c:v>0.99846067272860195</c:v>
                </c:pt>
                <c:pt idx="2832">
                  <c:v>0.99848176102479091</c:v>
                </c:pt>
                <c:pt idx="2833">
                  <c:v>0.99848872615708817</c:v>
                </c:pt>
                <c:pt idx="2834">
                  <c:v>0.99850943070393317</c:v>
                </c:pt>
                <c:pt idx="2835">
                  <c:v>0.99852985201482625</c:v>
                </c:pt>
                <c:pt idx="2836">
                  <c:v>0.9985365968463763</c:v>
                </c:pt>
                <c:pt idx="2837">
                  <c:v>0.99854331077873337</c:v>
                </c:pt>
                <c:pt idx="2838">
                  <c:v>0.99855664650979203</c:v>
                </c:pt>
                <c:pt idx="2839">
                  <c:v>0.99856326858885591</c:v>
                </c:pt>
                <c:pt idx="2840">
                  <c:v>0.99856986032945683</c:v>
                </c:pt>
                <c:pt idx="2841">
                  <c:v>0.9985764218701898</c:v>
                </c:pt>
                <c:pt idx="2842">
                  <c:v>0.99858295334901959</c:v>
                </c:pt>
                <c:pt idx="2843">
                  <c:v>0.99858945490328466</c:v>
                </c:pt>
                <c:pt idx="2844">
                  <c:v>0.99859592666969976</c:v>
                </c:pt>
                <c:pt idx="2845">
                  <c:v>0.99860236878435826</c:v>
                </c:pt>
                <c:pt idx="2846">
                  <c:v>0.99862151856947279</c:v>
                </c:pt>
                <c:pt idx="2847">
                  <c:v>0.99864664464050323</c:v>
                </c:pt>
                <c:pt idx="2848">
                  <c:v>0.99865285436686502</c:v>
                </c:pt>
                <c:pt idx="2849">
                  <c:v>0.99865903563882041</c:v>
                </c:pt>
                <c:pt idx="2850">
                  <c:v>0.9986651885864043</c:v>
                </c:pt>
                <c:pt idx="2851">
                  <c:v>0.99868951971308106</c:v>
                </c:pt>
                <c:pt idx="2852">
                  <c:v>0.99869553296872893</c:v>
                </c:pt>
                <c:pt idx="2853">
                  <c:v>0.99870747693652362</c:v>
                </c:pt>
                <c:pt idx="2854">
                  <c:v>0.99871931168313965</c:v>
                </c:pt>
                <c:pt idx="2855">
                  <c:v>0.99873686119009364</c:v>
                </c:pt>
                <c:pt idx="2856">
                  <c:v>0.99874265748864477</c:v>
                </c:pt>
                <c:pt idx="2857">
                  <c:v>0.99877124293063702</c:v>
                </c:pt>
                <c:pt idx="2858">
                  <c:v>0.99881563563408438</c:v>
                </c:pt>
                <c:pt idx="2859">
                  <c:v>0.99882107087871808</c:v>
                </c:pt>
                <c:pt idx="2860">
                  <c:v>0.99882648120941819</c:v>
                </c:pt>
                <c:pt idx="2861">
                  <c:v>0.99883722758422511</c:v>
                </c:pt>
                <c:pt idx="2862">
                  <c:v>0.99884256385464121</c:v>
                </c:pt>
                <c:pt idx="2863">
                  <c:v>0.9988584263450081</c:v>
                </c:pt>
                <c:pt idx="2864">
                  <c:v>0.99886366543937855</c:v>
                </c:pt>
                <c:pt idx="2865">
                  <c:v>0.99886888051687794</c:v>
                </c:pt>
                <c:pt idx="2866">
                  <c:v>0.99894429817495956</c:v>
                </c:pt>
                <c:pt idx="2867">
                  <c:v>0.99895396678319259</c:v>
                </c:pt>
                <c:pt idx="2868">
                  <c:v>0.99896830408995685</c:v>
                </c:pt>
                <c:pt idx="2869">
                  <c:v>0.99898244508461964</c:v>
                </c:pt>
                <c:pt idx="2870">
                  <c:v>0.99899176467833151</c:v>
                </c:pt>
                <c:pt idx="2871">
                  <c:v>0.99899639244971394</c:v>
                </c:pt>
                <c:pt idx="2872">
                  <c:v>0.99901921494069446</c:v>
                </c:pt>
                <c:pt idx="2873">
                  <c:v>0.99902819809382926</c:v>
                </c:pt>
                <c:pt idx="2874">
                  <c:v>0.99904151893582238</c:v>
                </c:pt>
                <c:pt idx="2875">
                  <c:v>0.99905029799761969</c:v>
                </c:pt>
                <c:pt idx="2876">
                  <c:v>0.99914958578168711</c:v>
                </c:pt>
                <c:pt idx="2877">
                  <c:v>0.99915348977253038</c:v>
                </c:pt>
                <c:pt idx="2878">
                  <c:v>0.99917654052932303</c:v>
                </c:pt>
                <c:pt idx="2879">
                  <c:v>0.99918782964068831</c:v>
                </c:pt>
                <c:pt idx="2880">
                  <c:v>0.99922435497558515</c:v>
                </c:pt>
                <c:pt idx="2881">
                  <c:v>0.99925238983860987</c:v>
                </c:pt>
                <c:pt idx="2882">
                  <c:v>0.99929903639621398</c:v>
                </c:pt>
                <c:pt idx="2883">
                  <c:v>0.99932125737184152</c:v>
                </c:pt>
                <c:pt idx="2884">
                  <c:v>0.99935772506489484</c:v>
                </c:pt>
                <c:pt idx="2885">
                  <c:v>0.99936944051165999</c:v>
                </c:pt>
                <c:pt idx="2886">
                  <c:v>0.99937233585090191</c:v>
                </c:pt>
                <c:pt idx="2887">
                  <c:v>0.99937521790392969</c:v>
                </c:pt>
                <c:pt idx="2888">
                  <c:v>0.9994222379545491</c:v>
                </c:pt>
                <c:pt idx="2889">
                  <c:v>0.99942489100334775</c:v>
                </c:pt>
                <c:pt idx="2890">
                  <c:v>0.99944312453414152</c:v>
                </c:pt>
                <c:pt idx="2891">
                  <c:v>0.99944568172620996</c:v>
                </c:pt>
                <c:pt idx="2892">
                  <c:v>0.99945579366894866</c:v>
                </c:pt>
                <c:pt idx="2893">
                  <c:v>0.99946078029224494</c:v>
                </c:pt>
                <c:pt idx="2894">
                  <c:v>0.99946325645198153</c:v>
                </c:pt>
                <c:pt idx="2895">
                  <c:v>0.99952815969710485</c:v>
                </c:pt>
                <c:pt idx="2896">
                  <c:v>0.99961467017864092</c:v>
                </c:pt>
                <c:pt idx="2897">
                  <c:v>0.99962688910590436</c:v>
                </c:pt>
                <c:pt idx="2898">
                  <c:v>0.99964856311077943</c:v>
                </c:pt>
                <c:pt idx="2899">
                  <c:v>0.99965497534376424</c:v>
                </c:pt>
                <c:pt idx="2900">
                  <c:v>0.99966282641571191</c:v>
                </c:pt>
                <c:pt idx="2901">
                  <c:v>0.99967501835002082</c:v>
                </c:pt>
                <c:pt idx="2902">
                  <c:v>0.99968387220237032</c:v>
                </c:pt>
                <c:pt idx="2903">
                  <c:v>0.99968676957161151</c:v>
                </c:pt>
                <c:pt idx="2904">
                  <c:v>0.99968964039417629</c:v>
                </c:pt>
                <c:pt idx="2905">
                  <c:v>0.99976778025889812</c:v>
                </c:pt>
                <c:pt idx="2906">
                  <c:v>0.99977096570344937</c:v>
                </c:pt>
                <c:pt idx="2907">
                  <c:v>0.99978227643663786</c:v>
                </c:pt>
                <c:pt idx="2908">
                  <c:v>0.99982544825833763</c:v>
                </c:pt>
                <c:pt idx="2909">
                  <c:v>0.99990273473907354</c:v>
                </c:pt>
              </c:numCache>
            </c:numRef>
          </c:yVal>
          <c:smooth val="0"/>
          <c:extLst>
            <c:ext xmlns:c16="http://schemas.microsoft.com/office/drawing/2014/chart" uri="{C3380CC4-5D6E-409C-BE32-E72D297353CC}">
              <c16:uniqueId val="{00000001-D1B2-4A62-822D-9DE04906E2E5}"/>
            </c:ext>
          </c:extLst>
        </c:ser>
        <c:dLbls>
          <c:showLegendKey val="0"/>
          <c:showVal val="0"/>
          <c:showCatName val="0"/>
          <c:showSerName val="0"/>
          <c:showPercent val="0"/>
          <c:showBubbleSize val="0"/>
        </c:dLbls>
        <c:axId val="454050320"/>
        <c:axId val="454049008"/>
      </c:scatterChart>
      <c:valAx>
        <c:axId val="454050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049008"/>
        <c:crosses val="autoZero"/>
        <c:crossBetween val="midCat"/>
      </c:valAx>
      <c:valAx>
        <c:axId val="454049008"/>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050320"/>
        <c:crosses val="autoZero"/>
        <c:crossBetween val="midCat"/>
        <c:majorUnit val="0.25"/>
        <c:min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1: Just read and printed </a:t>
            </a:r>
            <a:r>
              <a:rPr lang="en-US" dirty="0" err="1"/>
              <a:t>pgn</a:t>
            </a:r>
            <a:r>
              <a:rPr lang="en-US" dirty="0"/>
              <a:t> line by line, had no idea whether the headers were correct, </a:t>
            </a:r>
            <a:r>
              <a:rPr lang="en-US" dirty="0" err="1"/>
              <a:t>etc</a:t>
            </a:r>
            <a:r>
              <a:rPr lang="en-US" dirty="0"/>
              <a:t>, very error prone</a:t>
            </a:r>
          </a:p>
          <a:p>
            <a:r>
              <a:rPr lang="en-US" dirty="0"/>
              <a:t>v2: Started to be more careful, checked headers were right and discarded games that didn’t conform. Way better for pulling data out but still losing lots of games that could have been salvaged</a:t>
            </a:r>
          </a:p>
          <a:p>
            <a:r>
              <a:rPr lang="en-US" dirty="0"/>
              <a:t>v3: Main code just identifies blocks and passes them to functions to do all the specialized processing. Code is modular and easy to upgrade if a bug/new type of game is spotted. Functions became sophisticated enough to salvage information from games that didn’t conform to the normal structure. Began logging games that caused strange problems. </a:t>
            </a:r>
          </a:p>
          <a:p>
            <a:r>
              <a:rPr lang="en-US" dirty="0"/>
              <a:t>v4: No games are missed. Functions are now using chess packages to enrich the data before passing it to database (i.e. tracking locations of pieces in a third table).</a:t>
            </a:r>
          </a:p>
          <a:p>
            <a:endParaRPr lang="en-US" dirty="0"/>
          </a:p>
          <a:p>
            <a:endParaRPr lang="en-US" dirty="0"/>
          </a:p>
          <a:p>
            <a:r>
              <a:rPr lang="en-US" dirty="0"/>
              <a:t>Lesson learnt after working at DHS: use Git!!!</a:t>
            </a:r>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843920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sting a database with 800,000,000 needs more hardware, so start small. I had to work from home one Monday because I started loading records in on Sunday morning and it ran until Monday afternoon. I’m not saying any of you SHOULD do this, I’m just saying that I accidentally did this and got to work in my </a:t>
            </a:r>
            <a:r>
              <a:rPr lang="en-US" dirty="0" err="1"/>
              <a:t>pyjamas</a:t>
            </a:r>
            <a:r>
              <a:rPr lang="en-US" dirty="0"/>
              <a:t>…</a:t>
            </a:r>
          </a:p>
          <a:p>
            <a:r>
              <a:rPr lang="en-US" dirty="0"/>
              <a:t>No matter how good your code is, big data will break it (even slightly deviant chess games broke my database. Imagine trying to create a Computer vision AI that can deal with photos of documents uploaded to DHS). Every time I scaled up my dataset something new broke.</a:t>
            </a:r>
          </a:p>
          <a:p>
            <a:r>
              <a:rPr lang="en-US" dirty="0"/>
              <a:t>No matter how well you understand your dataset, big data will surprise you.</a:t>
            </a:r>
          </a:p>
          <a:p>
            <a:r>
              <a:rPr lang="en-US" dirty="0"/>
              <a:t>Data -&gt; Information -&gt; Knowledge -&gt; Wisdom. I found myself getting better at chess. As I understood  the dataset more and more (and created </a:t>
            </a:r>
            <a:r>
              <a:rPr lang="en-US" dirty="0" err="1"/>
              <a:t>visualisations</a:t>
            </a:r>
            <a:r>
              <a:rPr lang="en-US" dirty="0"/>
              <a:t>) I started to get better at finding how the data was related. By the end I could get people to ask questions they’d like to know, and I’d be able to figure it out quickly.</a:t>
            </a:r>
          </a:p>
          <a:p>
            <a:r>
              <a:rPr lang="en-US" dirty="0"/>
              <a:t>Ping pong</a:t>
            </a:r>
          </a:p>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297967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604713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Elo</a:t>
            </a:r>
          </a:p>
          <a:p>
            <a:r>
              <a:rPr lang="en-US" dirty="0"/>
              <a:t>Explain that we expect a curve that looks like</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758578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only just learnt SQL</a:t>
            </a:r>
          </a:p>
          <a:p>
            <a:r>
              <a:rPr lang="en-US" dirty="0"/>
              <a:t>I didn’t know any python</a:t>
            </a:r>
          </a:p>
          <a:p>
            <a:r>
              <a:rPr lang="en-US" dirty="0"/>
              <a:t>I had never used a database with more than 5,000 rows</a:t>
            </a:r>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854550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chess, created by </a:t>
            </a:r>
            <a:r>
              <a:rPr lang="en-AU" dirty="0"/>
              <a:t>Thibault Duplessis in 2010, </a:t>
            </a:r>
            <a:r>
              <a:rPr lang="en-US" dirty="0"/>
              <a:t>is completely open source.</a:t>
            </a:r>
          </a:p>
          <a:p>
            <a:r>
              <a:rPr lang="en-US" dirty="0"/>
              <a:t>Lichess has </a:t>
            </a:r>
            <a:r>
              <a:rPr lang="en-GB" dirty="0"/>
              <a:t>over 740 million chess games stored as 1TB of plain text files.</a:t>
            </a:r>
          </a:p>
          <a:p>
            <a:r>
              <a:rPr lang="en-GB" dirty="0"/>
              <a:t>They are essentially stored as logs, each game getting appended onto the last.</a:t>
            </a:r>
          </a:p>
          <a:p>
            <a:r>
              <a:rPr lang="en-GB" dirty="0"/>
              <a:t>The data is unstructured and is stored in a format called ‘</a:t>
            </a:r>
            <a:r>
              <a:rPr lang="en-GB" dirty="0" err="1"/>
              <a:t>pgn</a:t>
            </a:r>
            <a:r>
              <a:rPr lang="en-GB" dirty="0"/>
              <a:t>’ or portable game notation.</a:t>
            </a:r>
          </a:p>
          <a:p>
            <a:r>
              <a:rPr lang="en-GB" dirty="0"/>
              <a:t>I decided to analyse the data from November 2018 with is a single 50GB text file.</a:t>
            </a:r>
          </a:p>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673644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ption of </a:t>
            </a:r>
            <a:r>
              <a:rPr lang="en-US" dirty="0" err="1"/>
              <a:t>pgn</a:t>
            </a:r>
            <a:r>
              <a:rPr lang="en-US" dirty="0"/>
              <a:t> and </a:t>
            </a:r>
            <a:r>
              <a:rPr lang="en-US" dirty="0" err="1"/>
              <a:t>lichess</a:t>
            </a:r>
            <a:r>
              <a:rPr lang="en-US" dirty="0"/>
              <a:t> data</a:t>
            </a:r>
          </a:p>
          <a:p>
            <a:r>
              <a:rPr lang="en-US" dirty="0"/>
              <a:t>Description of how unstructured the data is</a:t>
            </a:r>
          </a:p>
          <a:p>
            <a:r>
              <a:rPr lang="en-AU" dirty="0"/>
              <a:t>	- varying headers</a:t>
            </a:r>
          </a:p>
          <a:p>
            <a:r>
              <a:rPr lang="en-AU" dirty="0"/>
              <a:t>	- different game notation (i.e. comments, numbering of moves)</a:t>
            </a:r>
          </a:p>
          <a:p>
            <a:r>
              <a:rPr lang="en-AU" dirty="0"/>
              <a:t>	- different types of games</a:t>
            </a:r>
          </a:p>
          <a:p>
            <a:r>
              <a:rPr lang="en-AU" dirty="0"/>
              <a:t>I should have heeded Sam’s warning…</a:t>
            </a:r>
          </a:p>
          <a:p>
            <a:r>
              <a:rPr lang="en-AU" dirty="0"/>
              <a:t>Why I chose the data</a:t>
            </a:r>
          </a:p>
          <a:p>
            <a:r>
              <a:rPr lang="en-AU" dirty="0"/>
              <a:t>	- challenging</a:t>
            </a:r>
          </a:p>
          <a:p>
            <a:r>
              <a:rPr lang="en-AU" dirty="0"/>
              <a:t>	- teach me skills relevant to starting at DHS</a:t>
            </a:r>
          </a:p>
          <a:p>
            <a:r>
              <a:rPr lang="en-AU" dirty="0"/>
              <a:t>	- The chess data had perfect integrity. I knew any mistakes I made were mine which is better than most data.</a:t>
            </a:r>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4105289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of </a:t>
            </a:r>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17602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d to set design considerations from really early in the project. I opted to create a 3NF compliant database with two tables:</a:t>
            </a:r>
          </a:p>
          <a:p>
            <a:r>
              <a:rPr lang="en-US" dirty="0"/>
              <a:t>	- one with all the metadata for each game</a:t>
            </a:r>
          </a:p>
          <a:p>
            <a:r>
              <a:rPr lang="en-US" dirty="0"/>
              <a:t>	- one with all the move data for each game (move no, move, time, eval)</a:t>
            </a:r>
          </a:p>
          <a:p>
            <a:r>
              <a:rPr lang="en-US" dirty="0"/>
              <a:t>This was a risk and it would have been really hard to go back and change this structure</a:t>
            </a:r>
          </a:p>
          <a:p>
            <a:r>
              <a:rPr lang="en-US" dirty="0"/>
              <a:t>One regret was creating an index number when there was a perfectly good index in the data already.</a:t>
            </a: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067849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I had 3 really smart people on the bench with heaps of experience in all of these things:</a:t>
            </a:r>
            <a:br>
              <a:rPr lang="en-US" dirty="0"/>
            </a:br>
            <a:r>
              <a:rPr lang="en-US" dirty="0"/>
              <a:t>	- Sam: PhD in Computer Science</a:t>
            </a:r>
          </a:p>
          <a:p>
            <a:r>
              <a:rPr lang="en-US" dirty="0"/>
              <a:t>	- Paul: BI wiz</a:t>
            </a:r>
          </a:p>
          <a:p>
            <a:r>
              <a:rPr lang="en-US" dirty="0"/>
              <a:t>	- Simon: Lots of industry experience in coding</a:t>
            </a:r>
          </a:p>
          <a:p>
            <a:r>
              <a:rPr lang="en-US" dirty="0"/>
              <a:t>They encouraged me to stop entertaining hypotheticals and just </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52152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26073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d to set design considerations from really early in the project. I opted to create a 3NF compliant database with two tables:</a:t>
            </a:r>
          </a:p>
          <a:p>
            <a:r>
              <a:rPr lang="en-US" dirty="0"/>
              <a:t>	- one with all the metadata for each game</a:t>
            </a:r>
          </a:p>
          <a:p>
            <a:r>
              <a:rPr lang="en-US" dirty="0"/>
              <a:t>	- one with all the move data for each game (move no, move, time, eval)</a:t>
            </a:r>
          </a:p>
          <a:p>
            <a:r>
              <a:rPr lang="en-US" dirty="0"/>
              <a:t>This was a risk and it would have been really hard to go back and change this structure</a:t>
            </a:r>
          </a:p>
          <a:p>
            <a:r>
              <a:rPr lang="en-US" dirty="0"/>
              <a:t>One regret was creating an index number when there was a perfectly good index in the data already.</a:t>
            </a:r>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4224132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8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1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Unstructured Data | Luke Keating Hughes | 09/08/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8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0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image" Target="../media/image39.gi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image" Target="../media/image41.gi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3.gi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5.png"/><Relationship Id="rId7"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18.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2492896"/>
            <a:ext cx="8208292" cy="1475154"/>
          </a:xfrm>
        </p:spPr>
        <p:txBody>
          <a:bodyPr/>
          <a:lstStyle/>
          <a:p>
            <a:r>
              <a:rPr lang="en-US" dirty="0"/>
              <a:t>Unstructured Data or:</a:t>
            </a:r>
            <a:br>
              <a:rPr lang="en-US" dirty="0"/>
            </a:br>
            <a:r>
              <a:rPr lang="en-US" dirty="0"/>
              <a:t>How I Learnt To Stop Worrying And Love /regex/</a:t>
            </a:r>
            <a:endParaRPr lang="en-GB" dirty="0"/>
          </a:p>
        </p:txBody>
      </p:sp>
      <p:sp>
        <p:nvSpPr>
          <p:cNvPr id="3" name="Subtitle 2"/>
          <p:cNvSpPr>
            <a:spLocks noGrp="1"/>
          </p:cNvSpPr>
          <p:nvPr>
            <p:ph type="subTitle" idx="1"/>
          </p:nvPr>
        </p:nvSpPr>
        <p:spPr>
          <a:xfrm>
            <a:off x="407988" y="4149080"/>
            <a:ext cx="4774257" cy="1223963"/>
          </a:xfrm>
        </p:spPr>
        <p:txBody>
          <a:bodyPr/>
          <a:lstStyle/>
          <a:p>
            <a:r>
              <a:rPr lang="en-US" dirty="0"/>
              <a:t>Luke Keating Hughes 09/08/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68E06B7-C7A0-464A-BBE3-ECE83DC1A573}"/>
              </a:ext>
            </a:extLst>
          </p:cNvPr>
          <p:cNvSpPr/>
          <p:nvPr/>
        </p:nvSpPr>
        <p:spPr>
          <a:xfrm>
            <a:off x="10846840" y="1292607"/>
            <a:ext cx="289160" cy="303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3"/>
          <p:cNvSpPr>
            <a:spLocks noGrp="1"/>
          </p:cNvSpPr>
          <p:nvPr>
            <p:ph type="title"/>
          </p:nvPr>
        </p:nvSpPr>
        <p:spPr/>
        <p:txBody>
          <a:bodyPr/>
          <a:lstStyle/>
          <a:p>
            <a:br>
              <a:rPr lang="en-US" dirty="0"/>
            </a:br>
            <a:r>
              <a:rPr lang="en-US" dirty="0"/>
              <a:t>Iterating towards perfection</a:t>
            </a:r>
          </a:p>
        </p:txBody>
      </p:sp>
      <p:sp>
        <p:nvSpPr>
          <p:cNvPr id="6" name="Text Placeholder 5"/>
          <p:cNvSpPr>
            <a:spLocks noGrp="1"/>
          </p:cNvSpPr>
          <p:nvPr>
            <p:ph type="body" sz="quarter" idx="11"/>
          </p:nvPr>
        </p:nvSpPr>
        <p:spPr/>
        <p:txBody>
          <a:bodyPr/>
          <a:lstStyle/>
          <a:p>
            <a:r>
              <a:rPr lang="en-GB" dirty="0"/>
              <a:t>I’m not bad at coding, I’m agile!</a:t>
            </a:r>
          </a:p>
        </p:txBody>
      </p:sp>
      <p:grpSp>
        <p:nvGrpSpPr>
          <p:cNvPr id="9" name="Group 8">
            <a:extLst>
              <a:ext uri="{FF2B5EF4-FFF2-40B4-BE49-F238E27FC236}">
                <a16:creationId xmlns:a16="http://schemas.microsoft.com/office/drawing/2014/main" id="{ED8896E6-FDBB-4103-9639-16B817F1CED9}"/>
              </a:ext>
            </a:extLst>
          </p:cNvPr>
          <p:cNvGrpSpPr/>
          <p:nvPr/>
        </p:nvGrpSpPr>
        <p:grpSpPr>
          <a:xfrm>
            <a:off x="6600000" y="2844968"/>
            <a:ext cx="2376000" cy="1168064"/>
            <a:chOff x="3575003" y="2692936"/>
            <a:chExt cx="1803112" cy="2016000"/>
          </a:xfrm>
        </p:grpSpPr>
        <p:sp>
          <p:nvSpPr>
            <p:cNvPr id="7" name="Rectangle: Rounded Corners 6">
              <a:extLst>
                <a:ext uri="{FF2B5EF4-FFF2-40B4-BE49-F238E27FC236}">
                  <a16:creationId xmlns:a16="http://schemas.microsoft.com/office/drawing/2014/main" id="{8495BA66-4FBD-4719-976D-2DAF481935B5}"/>
                </a:ext>
              </a:extLst>
            </p:cNvPr>
            <p:cNvSpPr/>
            <p:nvPr/>
          </p:nvSpPr>
          <p:spPr>
            <a:xfrm>
              <a:off x="3576000" y="2692936"/>
              <a:ext cx="1800000" cy="2016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1D1B2486-5C29-4F2A-844C-8B278B340C57}"/>
                </a:ext>
              </a:extLst>
            </p:cNvPr>
            <p:cNvSpPr/>
            <p:nvPr/>
          </p:nvSpPr>
          <p:spPr>
            <a:xfrm>
              <a:off x="3575003" y="2692936"/>
              <a:ext cx="1803112" cy="376064"/>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3" name="Group 12">
            <a:extLst>
              <a:ext uri="{FF2B5EF4-FFF2-40B4-BE49-F238E27FC236}">
                <a16:creationId xmlns:a16="http://schemas.microsoft.com/office/drawing/2014/main" id="{C5FC04D6-CF08-41B3-9B36-A1D2CE2A0736}"/>
              </a:ext>
            </a:extLst>
          </p:cNvPr>
          <p:cNvGrpSpPr/>
          <p:nvPr/>
        </p:nvGrpSpPr>
        <p:grpSpPr>
          <a:xfrm>
            <a:off x="10849979" y="657000"/>
            <a:ext cx="504000" cy="5544000"/>
            <a:chOff x="10344000" y="765000"/>
            <a:chExt cx="504000" cy="5544000"/>
          </a:xfrm>
        </p:grpSpPr>
        <p:sp>
          <p:nvSpPr>
            <p:cNvPr id="11" name="Rectangle: Rounded Corners 10">
              <a:extLst>
                <a:ext uri="{FF2B5EF4-FFF2-40B4-BE49-F238E27FC236}">
                  <a16:creationId xmlns:a16="http://schemas.microsoft.com/office/drawing/2014/main" id="{EB72C9B5-1327-4CD2-B4FA-1B39FAFD9018}"/>
                </a:ext>
              </a:extLst>
            </p:cNvPr>
            <p:cNvSpPr/>
            <p:nvPr/>
          </p:nvSpPr>
          <p:spPr>
            <a:xfrm>
              <a:off x="10344279" y="765000"/>
              <a:ext cx="503130" cy="5544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Rounded Corners 7">
              <a:extLst>
                <a:ext uri="{FF2B5EF4-FFF2-40B4-BE49-F238E27FC236}">
                  <a16:creationId xmlns:a16="http://schemas.microsoft.com/office/drawing/2014/main" id="{09A4C12F-6AB3-4253-AD7B-651276659E84}"/>
                </a:ext>
              </a:extLst>
            </p:cNvPr>
            <p:cNvSpPr/>
            <p:nvPr/>
          </p:nvSpPr>
          <p:spPr>
            <a:xfrm>
              <a:off x="10344000" y="765000"/>
              <a:ext cx="504000" cy="14400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0" name="Group 19">
            <a:extLst>
              <a:ext uri="{FF2B5EF4-FFF2-40B4-BE49-F238E27FC236}">
                <a16:creationId xmlns:a16="http://schemas.microsoft.com/office/drawing/2014/main" id="{990B087C-EA72-4913-85F1-E90DEDD72EEF}"/>
              </a:ext>
            </a:extLst>
          </p:cNvPr>
          <p:cNvGrpSpPr/>
          <p:nvPr/>
        </p:nvGrpSpPr>
        <p:grpSpPr>
          <a:xfrm>
            <a:off x="9403535" y="2587770"/>
            <a:ext cx="1016400" cy="950175"/>
            <a:chOff x="9391292" y="2844968"/>
            <a:chExt cx="1016400" cy="950175"/>
          </a:xfrm>
        </p:grpSpPr>
        <p:sp>
          <p:nvSpPr>
            <p:cNvPr id="18" name="Rectangle: Rounded Corners 17">
              <a:extLst>
                <a:ext uri="{FF2B5EF4-FFF2-40B4-BE49-F238E27FC236}">
                  <a16:creationId xmlns:a16="http://schemas.microsoft.com/office/drawing/2014/main" id="{D008EE01-D1C3-45C4-9929-78EDA5D6E65D}"/>
                </a:ext>
              </a:extLst>
            </p:cNvPr>
            <p:cNvSpPr/>
            <p:nvPr/>
          </p:nvSpPr>
          <p:spPr>
            <a:xfrm>
              <a:off x="9391854" y="2844968"/>
              <a:ext cx="1014646" cy="950175"/>
            </a:xfrm>
            <a:prstGeom prst="roundRect">
              <a:avLst>
                <a:gd name="adj" fmla="val 9329"/>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Rounded Corners 7">
              <a:extLst>
                <a:ext uri="{FF2B5EF4-FFF2-40B4-BE49-F238E27FC236}">
                  <a16:creationId xmlns:a16="http://schemas.microsoft.com/office/drawing/2014/main" id="{AE6E8A56-53C8-40A2-92BD-06AEE29246C8}"/>
                </a:ext>
              </a:extLst>
            </p:cNvPr>
            <p:cNvSpPr/>
            <p:nvPr/>
          </p:nvSpPr>
          <p:spPr>
            <a:xfrm>
              <a:off x="9391292" y="2844968"/>
              <a:ext cx="1016400" cy="21789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cxnSp>
        <p:nvCxnSpPr>
          <p:cNvPr id="22" name="Connector: Elbow 21">
            <a:extLst>
              <a:ext uri="{FF2B5EF4-FFF2-40B4-BE49-F238E27FC236}">
                <a16:creationId xmlns:a16="http://schemas.microsoft.com/office/drawing/2014/main" id="{12E1A9AD-8F14-4FF2-A858-DD7D926CCF3E}"/>
              </a:ext>
            </a:extLst>
          </p:cNvPr>
          <p:cNvCxnSpPr>
            <a:cxnSpLocks/>
            <a:stCxn id="18" idx="1"/>
            <a:endCxn id="7" idx="3"/>
          </p:cNvCxnSpPr>
          <p:nvPr/>
        </p:nvCxnSpPr>
        <p:spPr>
          <a:xfrm rot="10800000" flipV="1">
            <a:off x="8973213" y="3062858"/>
            <a:ext cx="430884" cy="36614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87DCCB5-525C-4516-BC3D-80876E0919B9}"/>
              </a:ext>
            </a:extLst>
          </p:cNvPr>
          <p:cNvCxnSpPr>
            <a:cxnSpLocks/>
            <a:stCxn id="18" idx="3"/>
            <a:endCxn id="32" idx="1"/>
          </p:cNvCxnSpPr>
          <p:nvPr/>
        </p:nvCxnSpPr>
        <p:spPr>
          <a:xfrm flipV="1">
            <a:off x="10418743" y="1444557"/>
            <a:ext cx="428097" cy="161830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grpSp>
        <p:nvGrpSpPr>
          <p:cNvPr id="2" name="Group 1">
            <a:extLst>
              <a:ext uri="{FF2B5EF4-FFF2-40B4-BE49-F238E27FC236}">
                <a16:creationId xmlns:a16="http://schemas.microsoft.com/office/drawing/2014/main" id="{000A016D-BB23-4A7A-8B8C-0EB0DD6501EB}"/>
              </a:ext>
            </a:extLst>
          </p:cNvPr>
          <p:cNvGrpSpPr/>
          <p:nvPr/>
        </p:nvGrpSpPr>
        <p:grpSpPr>
          <a:xfrm>
            <a:off x="2856000" y="1124927"/>
            <a:ext cx="5688000" cy="1499458"/>
            <a:chOff x="2856000" y="1124927"/>
            <a:chExt cx="5688000" cy="1499458"/>
          </a:xfrm>
        </p:grpSpPr>
        <p:cxnSp>
          <p:nvCxnSpPr>
            <p:cNvPr id="21" name="Straight Arrow Connector 20">
              <a:extLst>
                <a:ext uri="{FF2B5EF4-FFF2-40B4-BE49-F238E27FC236}">
                  <a16:creationId xmlns:a16="http://schemas.microsoft.com/office/drawing/2014/main" id="{2BFC3BD0-6DFE-4D57-A9FA-EECE00003892}"/>
                </a:ext>
              </a:extLst>
            </p:cNvPr>
            <p:cNvCxnSpPr>
              <a:cxnSpLocks/>
            </p:cNvCxnSpPr>
            <p:nvPr/>
          </p:nvCxnSpPr>
          <p:spPr>
            <a:xfrm>
              <a:off x="2856000" y="2624385"/>
              <a:ext cx="5688000" cy="0"/>
            </a:xfrm>
            <a:prstGeom prst="straightConnector1">
              <a:avLst/>
            </a:prstGeom>
            <a:ln w="76200">
              <a:solidFill>
                <a:srgbClr val="FF7E83"/>
              </a:solidFill>
              <a:tailEnd type="triangle"/>
            </a:ln>
          </p:spPr>
          <p:style>
            <a:lnRef idx="1">
              <a:schemeClr val="accent1"/>
            </a:lnRef>
            <a:fillRef idx="0">
              <a:schemeClr val="accent1"/>
            </a:fillRef>
            <a:effectRef idx="0">
              <a:schemeClr val="accent1"/>
            </a:effectRef>
            <a:fontRef idx="minor">
              <a:schemeClr val="tx1"/>
            </a:fontRef>
          </p:style>
        </p:cxnSp>
        <p:pic>
          <p:nvPicPr>
            <p:cNvPr id="72706" name="Picture 2" descr="https://i.imgur.com/x5iJSiO.jpg">
              <a:extLst>
                <a:ext uri="{FF2B5EF4-FFF2-40B4-BE49-F238E27FC236}">
                  <a16:creationId xmlns:a16="http://schemas.microsoft.com/office/drawing/2014/main" id="{A3C0CCB0-F80E-42ED-9B3C-EC3AB284422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018" t="13841" r="1491" b="399"/>
            <a:stretch/>
          </p:blipFill>
          <p:spPr bwMode="auto">
            <a:xfrm>
              <a:off x="5052402" y="1124927"/>
              <a:ext cx="894081" cy="14350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68936F31-8C16-47EC-8B4F-08A0428A1837}"/>
              </a:ext>
            </a:extLst>
          </p:cNvPr>
          <p:cNvGrpSpPr/>
          <p:nvPr/>
        </p:nvGrpSpPr>
        <p:grpSpPr>
          <a:xfrm>
            <a:off x="2856000" y="2840607"/>
            <a:ext cx="5688000" cy="1533131"/>
            <a:chOff x="2856000" y="2840607"/>
            <a:chExt cx="5688000" cy="1533131"/>
          </a:xfrm>
        </p:grpSpPr>
        <p:cxnSp>
          <p:nvCxnSpPr>
            <p:cNvPr id="23" name="Straight Arrow Connector 22">
              <a:extLst>
                <a:ext uri="{FF2B5EF4-FFF2-40B4-BE49-F238E27FC236}">
                  <a16:creationId xmlns:a16="http://schemas.microsoft.com/office/drawing/2014/main" id="{CCC4F081-B7C9-4109-A906-134FB3AC669F}"/>
                </a:ext>
              </a:extLst>
            </p:cNvPr>
            <p:cNvCxnSpPr>
              <a:cxnSpLocks/>
            </p:cNvCxnSpPr>
            <p:nvPr/>
          </p:nvCxnSpPr>
          <p:spPr>
            <a:xfrm>
              <a:off x="2856000" y="4373738"/>
              <a:ext cx="5688000" cy="0"/>
            </a:xfrm>
            <a:prstGeom prst="straightConnector1">
              <a:avLst/>
            </a:prstGeom>
            <a:ln w="76200">
              <a:solidFill>
                <a:srgbClr val="FF6327"/>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 descr="https://i.imgur.com/x5iJSiO.jpg">
              <a:extLst>
                <a:ext uri="{FF2B5EF4-FFF2-40B4-BE49-F238E27FC236}">
                  <a16:creationId xmlns:a16="http://schemas.microsoft.com/office/drawing/2014/main" id="{97BBAE32-2C98-4B3E-80ED-F8BC81C037C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666" t="13684" r="33356"/>
            <a:stretch/>
          </p:blipFill>
          <p:spPr bwMode="auto">
            <a:xfrm>
              <a:off x="5030600" y="2840607"/>
              <a:ext cx="937687" cy="1444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A20A3C4E-72E9-4B57-BD39-F88A9A0D54DC}"/>
              </a:ext>
            </a:extLst>
          </p:cNvPr>
          <p:cNvGrpSpPr/>
          <p:nvPr/>
        </p:nvGrpSpPr>
        <p:grpSpPr>
          <a:xfrm>
            <a:off x="2856000" y="4590996"/>
            <a:ext cx="5688000" cy="1602106"/>
            <a:chOff x="2856000" y="4590996"/>
            <a:chExt cx="5688000" cy="1602106"/>
          </a:xfrm>
        </p:grpSpPr>
        <p:cxnSp>
          <p:nvCxnSpPr>
            <p:cNvPr id="24" name="Straight Arrow Connector 23">
              <a:extLst>
                <a:ext uri="{FF2B5EF4-FFF2-40B4-BE49-F238E27FC236}">
                  <a16:creationId xmlns:a16="http://schemas.microsoft.com/office/drawing/2014/main" id="{3F5CF681-0B32-4D4D-ADD9-6FCD9F301B2B}"/>
                </a:ext>
              </a:extLst>
            </p:cNvPr>
            <p:cNvCxnSpPr>
              <a:cxnSpLocks/>
            </p:cNvCxnSpPr>
            <p:nvPr/>
          </p:nvCxnSpPr>
          <p:spPr>
            <a:xfrm>
              <a:off x="2856000" y="6193102"/>
              <a:ext cx="5688000" cy="0"/>
            </a:xfrm>
            <a:prstGeom prst="straightConnector1">
              <a:avLst/>
            </a:prstGeom>
            <a:ln w="76200">
              <a:solidFill>
                <a:srgbClr val="FF304C"/>
              </a:solidFill>
              <a:tailEnd type="triangle"/>
            </a:ln>
          </p:spPr>
          <p:style>
            <a:lnRef idx="1">
              <a:schemeClr val="accent1"/>
            </a:lnRef>
            <a:fillRef idx="0">
              <a:schemeClr val="accent1"/>
            </a:fillRef>
            <a:effectRef idx="0">
              <a:schemeClr val="accent1"/>
            </a:effectRef>
            <a:fontRef idx="minor">
              <a:schemeClr val="tx1"/>
            </a:fontRef>
          </p:style>
        </p:cxnSp>
        <p:pic>
          <p:nvPicPr>
            <p:cNvPr id="28" name="Picture 2" descr="https://i.imgur.com/x5iJSiO.jpg">
              <a:extLst>
                <a:ext uri="{FF2B5EF4-FFF2-40B4-BE49-F238E27FC236}">
                  <a16:creationId xmlns:a16="http://schemas.microsoft.com/office/drawing/2014/main" id="{C51A97F3-D364-4218-9C40-BE6D36DC81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57" t="11952" r="67066"/>
            <a:stretch/>
          </p:blipFill>
          <p:spPr bwMode="auto">
            <a:xfrm>
              <a:off x="5030600" y="4590996"/>
              <a:ext cx="934720" cy="14733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82155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F360CD-EF64-418D-9B35-CC1A2110BA61}"/>
              </a:ext>
            </a:extLst>
          </p:cNvPr>
          <p:cNvPicPr>
            <a:picLocks noChangeAspect="1"/>
          </p:cNvPicPr>
          <p:nvPr/>
        </p:nvPicPr>
        <p:blipFill>
          <a:blip r:embed="rId3"/>
          <a:stretch>
            <a:fillRect/>
          </a:stretch>
        </p:blipFill>
        <p:spPr>
          <a:xfrm>
            <a:off x="1343999" y="2277000"/>
            <a:ext cx="3860989" cy="1219883"/>
          </a:xfrm>
          <a:prstGeom prst="rect">
            <a:avLst/>
          </a:prstGeom>
        </p:spPr>
      </p:pic>
      <p:pic>
        <p:nvPicPr>
          <p:cNvPr id="75778" name="Picture 2" descr="https://ecolabsblog.files.wordpress.com/2010/11/information-wisdom22w-scaled1000.jpg">
            <a:extLst>
              <a:ext uri="{FF2B5EF4-FFF2-40B4-BE49-F238E27FC236}">
                <a16:creationId xmlns:a16="http://schemas.microsoft.com/office/drawing/2014/main" id="{107FF0C4-8DE2-4F42-BEED-A573E7DFC1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039" b="4187"/>
          <a:stretch/>
        </p:blipFill>
        <p:spPr bwMode="auto">
          <a:xfrm>
            <a:off x="3068331" y="3092771"/>
            <a:ext cx="3625687" cy="308614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br>
              <a:rPr lang="en-US" dirty="0"/>
            </a:br>
            <a:r>
              <a:rPr lang="en-US" dirty="0"/>
              <a:t>Problems at scale</a:t>
            </a:r>
          </a:p>
        </p:txBody>
      </p:sp>
      <p:sp>
        <p:nvSpPr>
          <p:cNvPr id="6" name="Text Placeholder 5"/>
          <p:cNvSpPr>
            <a:spLocks noGrp="1"/>
          </p:cNvSpPr>
          <p:nvPr>
            <p:ph type="body" sz="quarter" idx="11"/>
          </p:nvPr>
        </p:nvSpPr>
        <p:spPr>
          <a:xfrm>
            <a:off x="227349" y="1148607"/>
            <a:ext cx="11700000" cy="504056"/>
          </a:xfrm>
        </p:spPr>
        <p:txBody>
          <a:bodyPr/>
          <a:lstStyle/>
          <a:p>
            <a:r>
              <a:rPr lang="en-GB" dirty="0"/>
              <a:t>and what it taught me</a:t>
            </a:r>
          </a:p>
        </p:txBody>
      </p:sp>
      <p:pic>
        <p:nvPicPr>
          <p:cNvPr id="14" name="Picture 13">
            <a:extLst>
              <a:ext uri="{FF2B5EF4-FFF2-40B4-BE49-F238E27FC236}">
                <a16:creationId xmlns:a16="http://schemas.microsoft.com/office/drawing/2014/main" id="{279EA64A-056E-4147-8FEC-4E1376D3CA52}"/>
              </a:ext>
            </a:extLst>
          </p:cNvPr>
          <p:cNvPicPr>
            <a:picLocks noChangeAspect="1"/>
          </p:cNvPicPr>
          <p:nvPr/>
        </p:nvPicPr>
        <p:blipFill>
          <a:blip r:embed="rId5"/>
          <a:stretch>
            <a:fillRect/>
          </a:stretch>
        </p:blipFill>
        <p:spPr>
          <a:xfrm>
            <a:off x="709370" y="3554109"/>
            <a:ext cx="1642630" cy="2163464"/>
          </a:xfrm>
          <a:prstGeom prst="rect">
            <a:avLst/>
          </a:prstGeom>
        </p:spPr>
      </p:pic>
      <p:sp>
        <p:nvSpPr>
          <p:cNvPr id="3" name="Rectangle 2">
            <a:extLst>
              <a:ext uri="{FF2B5EF4-FFF2-40B4-BE49-F238E27FC236}">
                <a16:creationId xmlns:a16="http://schemas.microsoft.com/office/drawing/2014/main" id="{A71B6110-AAB2-4EC1-8514-317AF01E3790}"/>
              </a:ext>
            </a:extLst>
          </p:cNvPr>
          <p:cNvSpPr/>
          <p:nvPr/>
        </p:nvSpPr>
        <p:spPr>
          <a:xfrm>
            <a:off x="5330013" y="951363"/>
            <a:ext cx="5805987" cy="2837637"/>
          </a:xfrm>
          <a:prstGeom prst="rect">
            <a:avLst/>
          </a:prstGeom>
          <a:solidFill>
            <a:srgbClr val="FF63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 name="Picture 1">
            <a:extLst>
              <a:ext uri="{FF2B5EF4-FFF2-40B4-BE49-F238E27FC236}">
                <a16:creationId xmlns:a16="http://schemas.microsoft.com/office/drawing/2014/main" id="{2E5E6D78-C3B7-41FD-B02C-1B78B717E199}"/>
              </a:ext>
            </a:extLst>
          </p:cNvPr>
          <p:cNvPicPr>
            <a:picLocks noChangeAspect="1"/>
          </p:cNvPicPr>
          <p:nvPr/>
        </p:nvPicPr>
        <p:blipFill>
          <a:blip r:embed="rId6"/>
          <a:stretch>
            <a:fillRect/>
          </a:stretch>
        </p:blipFill>
        <p:spPr>
          <a:xfrm>
            <a:off x="5365983" y="810150"/>
            <a:ext cx="5848350" cy="2933700"/>
          </a:xfrm>
          <a:prstGeom prst="rect">
            <a:avLst/>
          </a:prstGeom>
        </p:spPr>
      </p:pic>
      <p:grpSp>
        <p:nvGrpSpPr>
          <p:cNvPr id="13" name="Group 12">
            <a:extLst>
              <a:ext uri="{FF2B5EF4-FFF2-40B4-BE49-F238E27FC236}">
                <a16:creationId xmlns:a16="http://schemas.microsoft.com/office/drawing/2014/main" id="{D126242D-8F28-4B13-BCDB-98A6104500D1}"/>
              </a:ext>
            </a:extLst>
          </p:cNvPr>
          <p:cNvGrpSpPr/>
          <p:nvPr/>
        </p:nvGrpSpPr>
        <p:grpSpPr>
          <a:xfrm>
            <a:off x="7929018" y="3362293"/>
            <a:ext cx="3423567" cy="3234707"/>
            <a:chOff x="5110240" y="1367930"/>
            <a:chExt cx="5305760" cy="5013070"/>
          </a:xfrm>
        </p:grpSpPr>
        <p:sp>
          <p:nvSpPr>
            <p:cNvPr id="11" name="Oval 20">
              <a:extLst>
                <a:ext uri="{FF2B5EF4-FFF2-40B4-BE49-F238E27FC236}">
                  <a16:creationId xmlns:a16="http://schemas.microsoft.com/office/drawing/2014/main" id="{2A3BB403-566E-4B99-8392-721AFC004B24}"/>
                </a:ext>
              </a:extLst>
            </p:cNvPr>
            <p:cNvSpPr/>
            <p:nvPr/>
          </p:nvSpPr>
          <p:spPr>
            <a:xfrm>
              <a:off x="5110240" y="1367930"/>
              <a:ext cx="5305760" cy="501307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2" name="Picture 11" descr="A person in a blue shirt&#10;&#10;Description automatically generated">
              <a:extLst>
                <a:ext uri="{FF2B5EF4-FFF2-40B4-BE49-F238E27FC236}">
                  <a16:creationId xmlns:a16="http://schemas.microsoft.com/office/drawing/2014/main" id="{70AEA704-7491-45D0-B5F5-357C9A0FFE39}"/>
                </a:ext>
              </a:extLst>
            </p:cNvPr>
            <p:cNvPicPr>
              <a:picLocks noChangeAspect="1"/>
            </p:cNvPicPr>
            <p:nvPr/>
          </p:nvPicPr>
          <p:blipFill>
            <a:blip r:embed="rId7">
              <a:extLst>
                <a:ext uri="{28A0092B-C50C-407E-A947-70E740481C1C}">
                  <a14:useLocalDpi xmlns:a14="http://schemas.microsoft.com/office/drawing/2010/main" val="0"/>
                </a:ext>
              </a:extLst>
            </a:blip>
            <a:srcRect t="2056" r="23497" b="1567"/>
            <a:stretch>
              <a:fillRect/>
            </a:stretch>
          </p:blipFill>
          <p:spPr>
            <a:xfrm>
              <a:off x="5304000" y="1538550"/>
              <a:ext cx="5040000" cy="4761974"/>
            </a:xfrm>
            <a:custGeom>
              <a:avLst/>
              <a:gdLst>
                <a:gd name="connsiteX0" fmla="*/ 2520000 w 5040000"/>
                <a:gd name="connsiteY0" fmla="*/ 37 h 4761974"/>
                <a:gd name="connsiteX1" fmla="*/ 5040000 w 5040000"/>
                <a:gd name="connsiteY1" fmla="*/ 2379043 h 4761974"/>
                <a:gd name="connsiteX2" fmla="*/ 2520000 w 5040000"/>
                <a:gd name="connsiteY2" fmla="*/ 4758050 h 4761974"/>
                <a:gd name="connsiteX3" fmla="*/ 0 w 5040000"/>
                <a:gd name="connsiteY3" fmla="*/ 2379043 h 4761974"/>
                <a:gd name="connsiteX4" fmla="*/ 2520000 w 5040000"/>
                <a:gd name="connsiteY4" fmla="*/ 37 h 476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0" h="4761974">
                  <a:moveTo>
                    <a:pt x="2520000" y="37"/>
                  </a:moveTo>
                  <a:cubicBezTo>
                    <a:pt x="4013155" y="-7206"/>
                    <a:pt x="5040000" y="1065154"/>
                    <a:pt x="5040000" y="2379043"/>
                  </a:cubicBezTo>
                  <a:cubicBezTo>
                    <a:pt x="5040000" y="3692933"/>
                    <a:pt x="3600335" y="4671143"/>
                    <a:pt x="2520000" y="4758050"/>
                  </a:cubicBezTo>
                  <a:cubicBezTo>
                    <a:pt x="1012366" y="4837715"/>
                    <a:pt x="0" y="3692933"/>
                    <a:pt x="0" y="2379043"/>
                  </a:cubicBezTo>
                  <a:cubicBezTo>
                    <a:pt x="0" y="1065154"/>
                    <a:pt x="1178936" y="29008"/>
                    <a:pt x="2520000" y="37"/>
                  </a:cubicBezTo>
                  <a:close/>
                </a:path>
              </a:pathLst>
            </a:custGeom>
          </p:spPr>
        </p:pic>
      </p:grpSp>
    </p:spTree>
    <p:extLst>
      <p:ext uri="{BB962C8B-B14F-4D97-AF65-F5344CB8AC3E}">
        <p14:creationId xmlns:p14="http://schemas.microsoft.com/office/powerpoint/2010/main" val="123797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Some preliminary results</a:t>
            </a:r>
          </a:p>
        </p:txBody>
      </p:sp>
      <p:sp>
        <p:nvSpPr>
          <p:cNvPr id="6" name="Text Placeholder 5"/>
          <p:cNvSpPr>
            <a:spLocks noGrp="1"/>
          </p:cNvSpPr>
          <p:nvPr>
            <p:ph type="body" sz="quarter" idx="11"/>
          </p:nvPr>
        </p:nvSpPr>
        <p:spPr/>
        <p:txBody>
          <a:bodyPr/>
          <a:lstStyle/>
          <a:p>
            <a:r>
              <a:rPr lang="en-GB" dirty="0"/>
              <a:t>Cold…</a:t>
            </a:r>
          </a:p>
        </p:txBody>
      </p:sp>
      <p:pic>
        <p:nvPicPr>
          <p:cNvPr id="2" name="Picture 1">
            <a:extLst>
              <a:ext uri="{FF2B5EF4-FFF2-40B4-BE49-F238E27FC236}">
                <a16:creationId xmlns:a16="http://schemas.microsoft.com/office/drawing/2014/main" id="{385E3551-D409-4516-B412-206D61E4E5E8}"/>
              </a:ext>
            </a:extLst>
          </p:cNvPr>
          <p:cNvPicPr>
            <a:picLocks noChangeAspect="1"/>
          </p:cNvPicPr>
          <p:nvPr/>
        </p:nvPicPr>
        <p:blipFill>
          <a:blip r:embed="rId2"/>
          <a:stretch>
            <a:fillRect/>
          </a:stretch>
        </p:blipFill>
        <p:spPr>
          <a:xfrm>
            <a:off x="1416000" y="1093485"/>
            <a:ext cx="5168779" cy="5161630"/>
          </a:xfrm>
          <a:prstGeom prst="rect">
            <a:avLst/>
          </a:prstGeom>
        </p:spPr>
      </p:pic>
      <p:pic>
        <p:nvPicPr>
          <p:cNvPr id="3" name="Picture 2">
            <a:extLst>
              <a:ext uri="{FF2B5EF4-FFF2-40B4-BE49-F238E27FC236}">
                <a16:creationId xmlns:a16="http://schemas.microsoft.com/office/drawing/2014/main" id="{79402D33-13BA-4200-9697-10CBFC95CE61}"/>
              </a:ext>
            </a:extLst>
          </p:cNvPr>
          <p:cNvPicPr>
            <a:picLocks noChangeAspect="1"/>
          </p:cNvPicPr>
          <p:nvPr/>
        </p:nvPicPr>
        <p:blipFill>
          <a:blip r:embed="rId3"/>
          <a:stretch>
            <a:fillRect/>
          </a:stretch>
        </p:blipFill>
        <p:spPr>
          <a:xfrm>
            <a:off x="7092257" y="1878837"/>
            <a:ext cx="3752850" cy="3590925"/>
          </a:xfrm>
          <a:prstGeom prst="rect">
            <a:avLst/>
          </a:prstGeom>
        </p:spPr>
      </p:pic>
    </p:spTree>
    <p:extLst>
      <p:ext uri="{BB962C8B-B14F-4D97-AF65-F5344CB8AC3E}">
        <p14:creationId xmlns:p14="http://schemas.microsoft.com/office/powerpoint/2010/main" val="670073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DC4F58-3DEE-4C0D-B9C2-79FD54E4F2AC}"/>
              </a:ext>
            </a:extLst>
          </p:cNvPr>
          <p:cNvSpPr/>
          <p:nvPr/>
        </p:nvSpPr>
        <p:spPr>
          <a:xfrm>
            <a:off x="0" y="0"/>
            <a:ext cx="12192000" cy="6957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24BD5296-6422-4245-B840-A2AEF37725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4000" y="-747000"/>
            <a:ext cx="5184000" cy="7222597"/>
          </a:xfrm>
          <a:prstGeom prst="rect">
            <a:avLst/>
          </a:prstGeom>
        </p:spPr>
      </p:pic>
      <p:sp>
        <p:nvSpPr>
          <p:cNvPr id="10" name="Rectangle 9">
            <a:extLst>
              <a:ext uri="{FF2B5EF4-FFF2-40B4-BE49-F238E27FC236}">
                <a16:creationId xmlns:a16="http://schemas.microsoft.com/office/drawing/2014/main" id="{C1F77ED9-84C8-459E-8ABF-9BFF1138265A}"/>
              </a:ext>
            </a:extLst>
          </p:cNvPr>
          <p:cNvSpPr/>
          <p:nvPr/>
        </p:nvSpPr>
        <p:spPr>
          <a:xfrm>
            <a:off x="4744719" y="1"/>
            <a:ext cx="7543279" cy="7504388"/>
          </a:xfrm>
          <a:custGeom>
            <a:avLst/>
            <a:gdLst>
              <a:gd name="connsiteX0" fmla="*/ 0 w 4751999"/>
              <a:gd name="connsiteY0" fmla="*/ 0 h 6957000"/>
              <a:gd name="connsiteX1" fmla="*/ 4751999 w 4751999"/>
              <a:gd name="connsiteY1" fmla="*/ 0 h 6957000"/>
              <a:gd name="connsiteX2" fmla="*/ 4751999 w 4751999"/>
              <a:gd name="connsiteY2" fmla="*/ 6957000 h 6957000"/>
              <a:gd name="connsiteX3" fmla="*/ 0 w 4751999"/>
              <a:gd name="connsiteY3" fmla="*/ 6957000 h 6957000"/>
              <a:gd name="connsiteX4" fmla="*/ 0 w 4751999"/>
              <a:gd name="connsiteY4" fmla="*/ 0 h 6957000"/>
              <a:gd name="connsiteX0" fmla="*/ 317320 w 5069319"/>
              <a:gd name="connsiteY0" fmla="*/ 0 h 6957000"/>
              <a:gd name="connsiteX1" fmla="*/ 5069319 w 5069319"/>
              <a:gd name="connsiteY1" fmla="*/ 0 h 6957000"/>
              <a:gd name="connsiteX2" fmla="*/ 5069319 w 5069319"/>
              <a:gd name="connsiteY2" fmla="*/ 6957000 h 6957000"/>
              <a:gd name="connsiteX3" fmla="*/ 317320 w 5069319"/>
              <a:gd name="connsiteY3" fmla="*/ 6957000 h 6957000"/>
              <a:gd name="connsiteX4" fmla="*/ 0 w 5069319"/>
              <a:gd name="connsiteY4" fmla="*/ 6223000 h 6957000"/>
              <a:gd name="connsiteX5" fmla="*/ 317320 w 5069319"/>
              <a:gd name="connsiteY5" fmla="*/ 0 h 6957000"/>
              <a:gd name="connsiteX0" fmla="*/ 2217240 w 6969239"/>
              <a:gd name="connsiteY0" fmla="*/ 0 h 6957000"/>
              <a:gd name="connsiteX1" fmla="*/ 6969239 w 6969239"/>
              <a:gd name="connsiteY1" fmla="*/ 0 h 6957000"/>
              <a:gd name="connsiteX2" fmla="*/ 6969239 w 6969239"/>
              <a:gd name="connsiteY2" fmla="*/ 6957000 h 6957000"/>
              <a:gd name="connsiteX3" fmla="*/ 2217240 w 6969239"/>
              <a:gd name="connsiteY3" fmla="*/ 6957000 h 6957000"/>
              <a:gd name="connsiteX4" fmla="*/ 0 w 6969239"/>
              <a:gd name="connsiteY4" fmla="*/ 6487160 h 6957000"/>
              <a:gd name="connsiteX5" fmla="*/ 2217240 w 6969239"/>
              <a:gd name="connsiteY5" fmla="*/ 0 h 6957000"/>
              <a:gd name="connsiteX0" fmla="*/ 2239841 w 6991840"/>
              <a:gd name="connsiteY0" fmla="*/ 0 h 7175035"/>
              <a:gd name="connsiteX1" fmla="*/ 6991840 w 6991840"/>
              <a:gd name="connsiteY1" fmla="*/ 0 h 7175035"/>
              <a:gd name="connsiteX2" fmla="*/ 6991840 w 6991840"/>
              <a:gd name="connsiteY2" fmla="*/ 6957000 h 7175035"/>
              <a:gd name="connsiteX3" fmla="*/ 2239841 w 6991840"/>
              <a:gd name="connsiteY3" fmla="*/ 6957000 h 7175035"/>
              <a:gd name="connsiteX4" fmla="*/ 1145281 w 6991840"/>
              <a:gd name="connsiteY4" fmla="*/ 7081520 h 7175035"/>
              <a:gd name="connsiteX5" fmla="*/ 22601 w 6991840"/>
              <a:gd name="connsiteY5" fmla="*/ 6487160 h 7175035"/>
              <a:gd name="connsiteX6" fmla="*/ 2239841 w 6991840"/>
              <a:gd name="connsiteY6" fmla="*/ 0 h 7175035"/>
              <a:gd name="connsiteX0" fmla="*/ 2437141 w 7189140"/>
              <a:gd name="connsiteY0" fmla="*/ 0 h 7175035"/>
              <a:gd name="connsiteX1" fmla="*/ 7189140 w 7189140"/>
              <a:gd name="connsiteY1" fmla="*/ 0 h 7175035"/>
              <a:gd name="connsiteX2" fmla="*/ 7189140 w 7189140"/>
              <a:gd name="connsiteY2" fmla="*/ 6957000 h 7175035"/>
              <a:gd name="connsiteX3" fmla="*/ 2437141 w 7189140"/>
              <a:gd name="connsiteY3" fmla="*/ 6957000 h 7175035"/>
              <a:gd name="connsiteX4" fmla="*/ 1342581 w 7189140"/>
              <a:gd name="connsiteY4" fmla="*/ 7081520 h 7175035"/>
              <a:gd name="connsiteX5" fmla="*/ 219901 w 7189140"/>
              <a:gd name="connsiteY5" fmla="*/ 6487160 h 7175035"/>
              <a:gd name="connsiteX6" fmla="*/ 2437141 w 7189140"/>
              <a:gd name="connsiteY6" fmla="*/ 0 h 7175035"/>
              <a:gd name="connsiteX0" fmla="*/ 2437141 w 7189140"/>
              <a:gd name="connsiteY0" fmla="*/ 0 h 7097216"/>
              <a:gd name="connsiteX1" fmla="*/ 7189140 w 7189140"/>
              <a:gd name="connsiteY1" fmla="*/ 0 h 7097216"/>
              <a:gd name="connsiteX2" fmla="*/ 7189140 w 7189140"/>
              <a:gd name="connsiteY2" fmla="*/ 6957000 h 7097216"/>
              <a:gd name="connsiteX3" fmla="*/ 2437141 w 7189140"/>
              <a:gd name="connsiteY3" fmla="*/ 6957000 h 7097216"/>
              <a:gd name="connsiteX4" fmla="*/ 1342581 w 7189140"/>
              <a:gd name="connsiteY4" fmla="*/ 7081520 h 7097216"/>
              <a:gd name="connsiteX5" fmla="*/ 219901 w 7189140"/>
              <a:gd name="connsiteY5" fmla="*/ 6487160 h 7097216"/>
              <a:gd name="connsiteX6" fmla="*/ 2437141 w 7189140"/>
              <a:gd name="connsiteY6" fmla="*/ 0 h 7097216"/>
              <a:gd name="connsiteX0" fmla="*/ 2437141 w 7189140"/>
              <a:gd name="connsiteY0" fmla="*/ 0 h 7035790"/>
              <a:gd name="connsiteX1" fmla="*/ 7189140 w 7189140"/>
              <a:gd name="connsiteY1" fmla="*/ 0 h 7035790"/>
              <a:gd name="connsiteX2" fmla="*/ 7189140 w 7189140"/>
              <a:gd name="connsiteY2" fmla="*/ 6957000 h 7035790"/>
              <a:gd name="connsiteX3" fmla="*/ 2437141 w 7189140"/>
              <a:gd name="connsiteY3" fmla="*/ 6957000 h 7035790"/>
              <a:gd name="connsiteX4" fmla="*/ 1352741 w 7189140"/>
              <a:gd name="connsiteY4" fmla="*/ 7015480 h 7035790"/>
              <a:gd name="connsiteX5" fmla="*/ 219901 w 7189140"/>
              <a:gd name="connsiteY5" fmla="*/ 6487160 h 7035790"/>
              <a:gd name="connsiteX6" fmla="*/ 2437141 w 7189140"/>
              <a:gd name="connsiteY6" fmla="*/ 0 h 7035790"/>
              <a:gd name="connsiteX0" fmla="*/ 2437141 w 7189140"/>
              <a:gd name="connsiteY0" fmla="*/ 0 h 7404034"/>
              <a:gd name="connsiteX1" fmla="*/ 7189140 w 7189140"/>
              <a:gd name="connsiteY1" fmla="*/ 0 h 7404034"/>
              <a:gd name="connsiteX2" fmla="*/ 7189140 w 7189140"/>
              <a:gd name="connsiteY2" fmla="*/ 6957000 h 7404034"/>
              <a:gd name="connsiteX3" fmla="*/ 2437141 w 7189140"/>
              <a:gd name="connsiteY3" fmla="*/ 6957000 h 7404034"/>
              <a:gd name="connsiteX4" fmla="*/ 920941 w 7189140"/>
              <a:gd name="connsiteY4" fmla="*/ 7396480 h 7404034"/>
              <a:gd name="connsiteX5" fmla="*/ 219901 w 7189140"/>
              <a:gd name="connsiteY5" fmla="*/ 6487160 h 7404034"/>
              <a:gd name="connsiteX6" fmla="*/ 2437141 w 7189140"/>
              <a:gd name="connsiteY6" fmla="*/ 0 h 7404034"/>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494487"/>
              <a:gd name="connsiteX1" fmla="*/ 7189140 w 7189140"/>
              <a:gd name="connsiteY1" fmla="*/ 0 h 7494487"/>
              <a:gd name="connsiteX2" fmla="*/ 7189140 w 7189140"/>
              <a:gd name="connsiteY2" fmla="*/ 6957000 h 7494487"/>
              <a:gd name="connsiteX3" fmla="*/ 2437141 w 7189140"/>
              <a:gd name="connsiteY3" fmla="*/ 6957000 h 7494487"/>
              <a:gd name="connsiteX4" fmla="*/ 534861 w 7189140"/>
              <a:gd name="connsiteY4" fmla="*/ 7487920 h 7494487"/>
              <a:gd name="connsiteX5" fmla="*/ 219901 w 7189140"/>
              <a:gd name="connsiteY5" fmla="*/ 6487160 h 7494487"/>
              <a:gd name="connsiteX6" fmla="*/ 2437141 w 7189140"/>
              <a:gd name="connsiteY6" fmla="*/ 0 h 7494487"/>
              <a:gd name="connsiteX0" fmla="*/ 2437141 w 7189140"/>
              <a:gd name="connsiteY0" fmla="*/ 0 h 7776280"/>
              <a:gd name="connsiteX1" fmla="*/ 7189140 w 7189140"/>
              <a:gd name="connsiteY1" fmla="*/ 0 h 7776280"/>
              <a:gd name="connsiteX2" fmla="*/ 7189140 w 7189140"/>
              <a:gd name="connsiteY2" fmla="*/ 6957000 h 7776280"/>
              <a:gd name="connsiteX3" fmla="*/ 2437141 w 7189140"/>
              <a:gd name="connsiteY3" fmla="*/ 6957000 h 7776280"/>
              <a:gd name="connsiteX4" fmla="*/ 534861 w 7189140"/>
              <a:gd name="connsiteY4" fmla="*/ 7487920 h 7776280"/>
              <a:gd name="connsiteX5" fmla="*/ 219901 w 7189140"/>
              <a:gd name="connsiteY5" fmla="*/ 6487160 h 7776280"/>
              <a:gd name="connsiteX6" fmla="*/ 2437141 w 7189140"/>
              <a:gd name="connsiteY6" fmla="*/ 0 h 7776280"/>
              <a:gd name="connsiteX0" fmla="*/ 2263067 w 7015066"/>
              <a:gd name="connsiteY0" fmla="*/ 0 h 7776280"/>
              <a:gd name="connsiteX1" fmla="*/ 7015066 w 7015066"/>
              <a:gd name="connsiteY1" fmla="*/ 0 h 7776280"/>
              <a:gd name="connsiteX2" fmla="*/ 7015066 w 7015066"/>
              <a:gd name="connsiteY2" fmla="*/ 6957000 h 7776280"/>
              <a:gd name="connsiteX3" fmla="*/ 2263067 w 7015066"/>
              <a:gd name="connsiteY3" fmla="*/ 6957000 h 7776280"/>
              <a:gd name="connsiteX4" fmla="*/ 360787 w 7015066"/>
              <a:gd name="connsiteY4" fmla="*/ 7487920 h 7776280"/>
              <a:gd name="connsiteX5" fmla="*/ 45827 w 7015066"/>
              <a:gd name="connsiteY5" fmla="*/ 6487160 h 7776280"/>
              <a:gd name="connsiteX6" fmla="*/ 2263067 w 7015066"/>
              <a:gd name="connsiteY6" fmla="*/ 0 h 7776280"/>
              <a:gd name="connsiteX0" fmla="*/ 2232287 w 6984286"/>
              <a:gd name="connsiteY0" fmla="*/ 0 h 7776280"/>
              <a:gd name="connsiteX1" fmla="*/ 6984286 w 6984286"/>
              <a:gd name="connsiteY1" fmla="*/ 0 h 7776280"/>
              <a:gd name="connsiteX2" fmla="*/ 6984286 w 6984286"/>
              <a:gd name="connsiteY2" fmla="*/ 6957000 h 7776280"/>
              <a:gd name="connsiteX3" fmla="*/ 2232287 w 6984286"/>
              <a:gd name="connsiteY3" fmla="*/ 6957000 h 7776280"/>
              <a:gd name="connsiteX4" fmla="*/ 330007 w 6984286"/>
              <a:gd name="connsiteY4" fmla="*/ 7487920 h 7776280"/>
              <a:gd name="connsiteX5" fmla="*/ 15047 w 6984286"/>
              <a:gd name="connsiteY5" fmla="*/ 6487160 h 7776280"/>
              <a:gd name="connsiteX6" fmla="*/ 2232287 w 6984286"/>
              <a:gd name="connsiteY6" fmla="*/ 0 h 7776280"/>
              <a:gd name="connsiteX0" fmla="*/ 2296208 w 7048207"/>
              <a:gd name="connsiteY0" fmla="*/ 0 h 7776280"/>
              <a:gd name="connsiteX1" fmla="*/ 7048207 w 7048207"/>
              <a:gd name="connsiteY1" fmla="*/ 0 h 7776280"/>
              <a:gd name="connsiteX2" fmla="*/ 7048207 w 7048207"/>
              <a:gd name="connsiteY2" fmla="*/ 6957000 h 7776280"/>
              <a:gd name="connsiteX3" fmla="*/ 2296208 w 7048207"/>
              <a:gd name="connsiteY3" fmla="*/ 6957000 h 7776280"/>
              <a:gd name="connsiteX4" fmla="*/ 393928 w 7048207"/>
              <a:gd name="connsiteY4" fmla="*/ 7487920 h 7776280"/>
              <a:gd name="connsiteX5" fmla="*/ 78968 w 7048207"/>
              <a:gd name="connsiteY5" fmla="*/ 6487160 h 7776280"/>
              <a:gd name="connsiteX6" fmla="*/ 221208 w 7048207"/>
              <a:gd name="connsiteY6" fmla="*/ 5735319 h 7776280"/>
              <a:gd name="connsiteX7" fmla="*/ 2296208 w 7048207"/>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888237 w 7640236"/>
              <a:gd name="connsiteY0" fmla="*/ 0 h 7776280"/>
              <a:gd name="connsiteX1" fmla="*/ 7640236 w 7640236"/>
              <a:gd name="connsiteY1" fmla="*/ 0 h 7776280"/>
              <a:gd name="connsiteX2" fmla="*/ 7640236 w 7640236"/>
              <a:gd name="connsiteY2" fmla="*/ 6957000 h 7776280"/>
              <a:gd name="connsiteX3" fmla="*/ 2888237 w 7640236"/>
              <a:gd name="connsiteY3" fmla="*/ 6957000 h 7776280"/>
              <a:gd name="connsiteX4" fmla="*/ 985957 w 7640236"/>
              <a:gd name="connsiteY4" fmla="*/ 7487920 h 7776280"/>
              <a:gd name="connsiteX5" fmla="*/ 670997 w 7640236"/>
              <a:gd name="connsiteY5" fmla="*/ 6487160 h 7776280"/>
              <a:gd name="connsiteX6" fmla="*/ 96957 w 7640236"/>
              <a:gd name="connsiteY6" fmla="*/ 5537199 h 7776280"/>
              <a:gd name="connsiteX7" fmla="*/ 2888237 w 7640236"/>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776280"/>
              <a:gd name="connsiteX1" fmla="*/ 7543279 w 7543279"/>
              <a:gd name="connsiteY1" fmla="*/ 0 h 7776280"/>
              <a:gd name="connsiteX2" fmla="*/ 7543279 w 7543279"/>
              <a:gd name="connsiteY2" fmla="*/ 6957000 h 7776280"/>
              <a:gd name="connsiteX3" fmla="*/ 2791280 w 7543279"/>
              <a:gd name="connsiteY3" fmla="*/ 6957000 h 7776280"/>
              <a:gd name="connsiteX4" fmla="*/ 889000 w 7543279"/>
              <a:gd name="connsiteY4" fmla="*/ 7487920 h 7776280"/>
              <a:gd name="connsiteX5" fmla="*/ 574040 w 7543279"/>
              <a:gd name="connsiteY5" fmla="*/ 6487160 h 7776280"/>
              <a:gd name="connsiteX6" fmla="*/ 0 w 7543279"/>
              <a:gd name="connsiteY6" fmla="*/ 5537199 h 7776280"/>
              <a:gd name="connsiteX7" fmla="*/ 2791280 w 7543279"/>
              <a:gd name="connsiteY7" fmla="*/ 0 h 7776280"/>
              <a:gd name="connsiteX0" fmla="*/ 2791280 w 7543279"/>
              <a:gd name="connsiteY0" fmla="*/ 0 h 7504388"/>
              <a:gd name="connsiteX1" fmla="*/ 7543279 w 7543279"/>
              <a:gd name="connsiteY1" fmla="*/ 0 h 7504388"/>
              <a:gd name="connsiteX2" fmla="*/ 7543279 w 7543279"/>
              <a:gd name="connsiteY2" fmla="*/ 6957000 h 7504388"/>
              <a:gd name="connsiteX3" fmla="*/ 2791280 w 7543279"/>
              <a:gd name="connsiteY3" fmla="*/ 6957000 h 7504388"/>
              <a:gd name="connsiteX4" fmla="*/ 889000 w 7543279"/>
              <a:gd name="connsiteY4" fmla="*/ 7487920 h 7504388"/>
              <a:gd name="connsiteX5" fmla="*/ 574040 w 7543279"/>
              <a:gd name="connsiteY5" fmla="*/ 6487160 h 7504388"/>
              <a:gd name="connsiteX6" fmla="*/ 0 w 7543279"/>
              <a:gd name="connsiteY6" fmla="*/ 5537199 h 7504388"/>
              <a:gd name="connsiteX7" fmla="*/ 2791280 w 7543279"/>
              <a:gd name="connsiteY7" fmla="*/ 0 h 750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3279" h="7504388">
                <a:moveTo>
                  <a:pt x="2791280" y="0"/>
                </a:moveTo>
                <a:lnTo>
                  <a:pt x="7543279" y="0"/>
                </a:lnTo>
                <a:lnTo>
                  <a:pt x="7543279" y="6957000"/>
                </a:lnTo>
                <a:lnTo>
                  <a:pt x="2791280" y="6957000"/>
                </a:lnTo>
                <a:cubicBezTo>
                  <a:pt x="1682234" y="7045487"/>
                  <a:pt x="1080740" y="7606867"/>
                  <a:pt x="889000" y="7487920"/>
                </a:cubicBezTo>
                <a:cubicBezTo>
                  <a:pt x="697260" y="7368973"/>
                  <a:pt x="864447" y="6847840"/>
                  <a:pt x="574040" y="6487160"/>
                </a:cubicBezTo>
                <a:cubicBezTo>
                  <a:pt x="283633" y="6126480"/>
                  <a:pt x="240060" y="6232312"/>
                  <a:pt x="0" y="5537199"/>
                </a:cubicBezTo>
                <a:cubicBezTo>
                  <a:pt x="369540" y="4456006"/>
                  <a:pt x="1653447" y="955886"/>
                  <a:pt x="2791280" y="0"/>
                </a:cubicBezTo>
                <a:close/>
              </a:path>
            </a:pathLst>
          </a:cu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Box 6">
            <a:extLst>
              <a:ext uri="{FF2B5EF4-FFF2-40B4-BE49-F238E27FC236}">
                <a16:creationId xmlns:a16="http://schemas.microsoft.com/office/drawing/2014/main" id="{13803F6A-6C43-4C2B-BE4E-735BFC3837D0}"/>
              </a:ext>
            </a:extLst>
          </p:cNvPr>
          <p:cNvSpPr txBox="1"/>
          <p:nvPr/>
        </p:nvSpPr>
        <p:spPr>
          <a:xfrm>
            <a:off x="-24000" y="3285000"/>
            <a:ext cx="12287999" cy="646331"/>
          </a:xfrm>
          <a:prstGeom prst="rect">
            <a:avLst/>
          </a:prstGeom>
          <a:noFill/>
        </p:spPr>
        <p:txBody>
          <a:bodyPr wrap="square" rtlCol="0">
            <a:spAutoFit/>
          </a:bodyPr>
          <a:lstStyle/>
          <a:p>
            <a:pPr algn="ctr"/>
            <a:r>
              <a:rPr lang="en-US" sz="3600" dirty="0">
                <a:solidFill>
                  <a:srgbClr val="2B0A3D"/>
                </a:solidFill>
              </a:rPr>
              <a:t>White wins </a:t>
            </a:r>
            <a:r>
              <a:rPr lang="en-US" sz="3600" dirty="0">
                <a:solidFill>
                  <a:schemeClr val="bg1"/>
                </a:solidFill>
              </a:rPr>
              <a:t>51.7% of chess games</a:t>
            </a:r>
            <a:endParaRPr lang="en-AU" sz="3600" dirty="0">
              <a:solidFill>
                <a:schemeClr val="bg1"/>
              </a:solidFill>
            </a:endParaRPr>
          </a:p>
        </p:txBody>
      </p:sp>
    </p:spTree>
    <p:extLst>
      <p:ext uri="{BB962C8B-B14F-4D97-AF65-F5344CB8AC3E}">
        <p14:creationId xmlns:p14="http://schemas.microsoft.com/office/powerpoint/2010/main" val="19407764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Some more advanced </a:t>
            </a:r>
            <a:r>
              <a:rPr lang="en-US" dirty="0" err="1"/>
              <a:t>visualisations</a:t>
            </a:r>
            <a:endParaRPr lang="en-US" dirty="0"/>
          </a:p>
        </p:txBody>
      </p:sp>
      <p:sp>
        <p:nvSpPr>
          <p:cNvPr id="6" name="Text Placeholder 5"/>
          <p:cNvSpPr>
            <a:spLocks noGrp="1"/>
          </p:cNvSpPr>
          <p:nvPr>
            <p:ph type="body" sz="quarter" idx="11"/>
          </p:nvPr>
        </p:nvSpPr>
        <p:spPr/>
        <p:txBody>
          <a:bodyPr/>
          <a:lstStyle/>
          <a:p>
            <a:r>
              <a:rPr lang="en-GB" dirty="0"/>
              <a:t>…Colder…</a:t>
            </a:r>
          </a:p>
        </p:txBody>
      </p:sp>
      <p:graphicFrame>
        <p:nvGraphicFramePr>
          <p:cNvPr id="10" name="Chart 9">
            <a:extLst>
              <a:ext uri="{FF2B5EF4-FFF2-40B4-BE49-F238E27FC236}">
                <a16:creationId xmlns:a16="http://schemas.microsoft.com/office/drawing/2014/main" id="{67481FF3-83D2-4CB6-B899-5D3C4089CD41}"/>
              </a:ext>
            </a:extLst>
          </p:cNvPr>
          <p:cNvGraphicFramePr>
            <a:graphicFrameLocks/>
          </p:cNvGraphicFramePr>
          <p:nvPr>
            <p:extLst>
              <p:ext uri="{D42A27DB-BD31-4B8C-83A1-F6EECF244321}">
                <p14:modId xmlns:p14="http://schemas.microsoft.com/office/powerpoint/2010/main" val="860152127"/>
              </p:ext>
            </p:extLst>
          </p:nvPr>
        </p:nvGraphicFramePr>
        <p:xfrm>
          <a:off x="1381733" y="1120140"/>
          <a:ext cx="9428535" cy="5217984"/>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a:extLst>
              <a:ext uri="{FF2B5EF4-FFF2-40B4-BE49-F238E27FC236}">
                <a16:creationId xmlns:a16="http://schemas.microsoft.com/office/drawing/2014/main" id="{D09E1228-9481-44EF-96DC-FF840FFDCE94}"/>
              </a:ext>
            </a:extLst>
          </p:cNvPr>
          <p:cNvPicPr>
            <a:picLocks noChangeAspect="1"/>
          </p:cNvPicPr>
          <p:nvPr/>
        </p:nvPicPr>
        <p:blipFill>
          <a:blip r:embed="rId4"/>
          <a:stretch>
            <a:fillRect/>
          </a:stretch>
        </p:blipFill>
        <p:spPr>
          <a:xfrm>
            <a:off x="7968000" y="4365000"/>
            <a:ext cx="3513624" cy="1059309"/>
          </a:xfrm>
          <a:prstGeom prst="rect">
            <a:avLst/>
          </a:prstGeom>
        </p:spPr>
      </p:pic>
    </p:spTree>
    <p:extLst>
      <p:ext uri="{BB962C8B-B14F-4D97-AF65-F5344CB8AC3E}">
        <p14:creationId xmlns:p14="http://schemas.microsoft.com/office/powerpoint/2010/main" val="1222629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getting warmer…</a:t>
            </a:r>
          </a:p>
        </p:txBody>
      </p:sp>
      <p:pic>
        <p:nvPicPr>
          <p:cNvPr id="3" name="Picture 2" descr="A close up of a logo&#10;&#10;Description automatically generated">
            <a:extLst>
              <a:ext uri="{FF2B5EF4-FFF2-40B4-BE49-F238E27FC236}">
                <a16:creationId xmlns:a16="http://schemas.microsoft.com/office/drawing/2014/main" id="{3718804D-4E58-469A-9638-D434A83419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3019" y="1395873"/>
            <a:ext cx="5145962" cy="5243055"/>
          </a:xfrm>
          <a:prstGeom prst="rect">
            <a:avLst/>
          </a:prstGeom>
        </p:spPr>
      </p:pic>
    </p:spTree>
    <p:extLst>
      <p:ext uri="{BB962C8B-B14F-4D97-AF65-F5344CB8AC3E}">
        <p14:creationId xmlns:p14="http://schemas.microsoft.com/office/powerpoint/2010/main" val="2343263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getting warmer…</a:t>
            </a:r>
          </a:p>
        </p:txBody>
      </p:sp>
      <p:pic>
        <p:nvPicPr>
          <p:cNvPr id="8" name="Picture 7" descr="A close up of a logo&#10;&#10;Description automatically generated">
            <a:extLst>
              <a:ext uri="{FF2B5EF4-FFF2-40B4-BE49-F238E27FC236}">
                <a16:creationId xmlns:a16="http://schemas.microsoft.com/office/drawing/2014/main" id="{1CC75BCC-6002-4AE8-A6D1-CF428EDE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5" y="1678302"/>
            <a:ext cx="4419798" cy="4503190"/>
          </a:xfrm>
          <a:prstGeom prst="rect">
            <a:avLst/>
          </a:prstGeom>
        </p:spPr>
      </p:pic>
      <p:pic>
        <p:nvPicPr>
          <p:cNvPr id="10" name="Picture 9" descr="A close up of a logo&#10;&#10;Description automatically generated">
            <a:extLst>
              <a:ext uri="{FF2B5EF4-FFF2-40B4-BE49-F238E27FC236}">
                <a16:creationId xmlns:a16="http://schemas.microsoft.com/office/drawing/2014/main" id="{4A68A6C8-215A-48F6-A410-AC3C75EDC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2786" y="1652662"/>
            <a:ext cx="4419799" cy="4503191"/>
          </a:xfrm>
          <a:prstGeom prst="rect">
            <a:avLst/>
          </a:prstGeom>
        </p:spPr>
      </p:pic>
    </p:spTree>
    <p:extLst>
      <p:ext uri="{BB962C8B-B14F-4D97-AF65-F5344CB8AC3E}">
        <p14:creationId xmlns:p14="http://schemas.microsoft.com/office/powerpoint/2010/main" val="4038567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8" name="Picture 7">
            <a:extLst>
              <a:ext uri="{FF2B5EF4-FFF2-40B4-BE49-F238E27FC236}">
                <a16:creationId xmlns:a16="http://schemas.microsoft.com/office/drawing/2014/main" id="{3B2F7657-BB29-4B1A-A8A3-3D3DCE61D4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640" y="1651640"/>
            <a:ext cx="4513360" cy="4513360"/>
          </a:xfrm>
          <a:prstGeom prst="rect">
            <a:avLst/>
          </a:prstGeom>
        </p:spPr>
      </p:pic>
      <p:pic>
        <p:nvPicPr>
          <p:cNvPr id="14" name="Picture 13">
            <a:extLst>
              <a:ext uri="{FF2B5EF4-FFF2-40B4-BE49-F238E27FC236}">
                <a16:creationId xmlns:a16="http://schemas.microsoft.com/office/drawing/2014/main" id="{09306767-7EC9-40B8-A2A8-797FAB0AD9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0810" y="1632988"/>
            <a:ext cx="4503190" cy="4503190"/>
          </a:xfrm>
          <a:prstGeom prst="rect">
            <a:avLst/>
          </a:prstGeom>
        </p:spPr>
      </p:pic>
    </p:spTree>
    <p:extLst>
      <p:ext uri="{BB962C8B-B14F-4D97-AF65-F5344CB8AC3E}">
        <p14:creationId xmlns:p14="http://schemas.microsoft.com/office/powerpoint/2010/main" val="2824645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598E9E6-CE20-4482-9D6A-802D74B80E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000" y="1657507"/>
            <a:ext cx="4507493" cy="4507493"/>
          </a:xfrm>
          <a:prstGeom prst="rect">
            <a:avLst/>
          </a:prstGeom>
        </p:spPr>
      </p:pic>
      <p:sp>
        <p:nvSpPr>
          <p:cNvPr id="4" name="Title 3"/>
          <p:cNvSpPr>
            <a:spLocks noGrp="1"/>
          </p:cNvSpPr>
          <p:nvPr>
            <p:ph type="title"/>
          </p:nvPr>
        </p:nvSpPr>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8" name="Picture 7">
            <a:extLst>
              <a:ext uri="{FF2B5EF4-FFF2-40B4-BE49-F238E27FC236}">
                <a16:creationId xmlns:a16="http://schemas.microsoft.com/office/drawing/2014/main" id="{AB203687-1530-4B28-9B58-B1E1D99A84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8000" y="1629000"/>
            <a:ext cx="4507494" cy="4507494"/>
          </a:xfrm>
          <a:prstGeom prst="rect">
            <a:avLst/>
          </a:prstGeom>
        </p:spPr>
      </p:pic>
    </p:spTree>
    <p:extLst>
      <p:ext uri="{BB962C8B-B14F-4D97-AF65-F5344CB8AC3E}">
        <p14:creationId xmlns:p14="http://schemas.microsoft.com/office/powerpoint/2010/main" val="26494267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Heatmaps</a:t>
            </a:r>
          </a:p>
        </p:txBody>
      </p:sp>
      <p:sp>
        <p:nvSpPr>
          <p:cNvPr id="6" name="Text Placeholder 5"/>
          <p:cNvSpPr>
            <a:spLocks noGrp="1"/>
          </p:cNvSpPr>
          <p:nvPr>
            <p:ph type="body" sz="quarter" idx="11"/>
          </p:nvPr>
        </p:nvSpPr>
        <p:spPr/>
        <p:txBody>
          <a:bodyPr/>
          <a:lstStyle/>
          <a:p>
            <a:r>
              <a:rPr lang="en-GB" dirty="0"/>
              <a:t>Hot! Hot! Hot!</a:t>
            </a:r>
          </a:p>
        </p:txBody>
      </p:sp>
      <p:pic>
        <p:nvPicPr>
          <p:cNvPr id="5" name="Picture 4">
            <a:extLst>
              <a:ext uri="{FF2B5EF4-FFF2-40B4-BE49-F238E27FC236}">
                <a16:creationId xmlns:a16="http://schemas.microsoft.com/office/drawing/2014/main" id="{F65D5D1B-064B-412A-9DF7-3107D1C6A2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2000" y="1557000"/>
            <a:ext cx="9552000" cy="4776000"/>
          </a:xfrm>
          <a:prstGeom prst="rect">
            <a:avLst/>
          </a:prstGeom>
        </p:spPr>
      </p:pic>
    </p:spTree>
    <p:extLst>
      <p:ext uri="{BB962C8B-B14F-4D97-AF65-F5344CB8AC3E}">
        <p14:creationId xmlns:p14="http://schemas.microsoft.com/office/powerpoint/2010/main" val="2883455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My experience going in</a:t>
            </a:r>
          </a:p>
        </p:txBody>
      </p:sp>
      <p:sp>
        <p:nvSpPr>
          <p:cNvPr id="6" name="Text Placeholder 5"/>
          <p:cNvSpPr>
            <a:spLocks noGrp="1"/>
          </p:cNvSpPr>
          <p:nvPr>
            <p:ph type="body" sz="quarter" idx="11"/>
          </p:nvPr>
        </p:nvSpPr>
        <p:spPr/>
        <p:txBody>
          <a:bodyPr/>
          <a:lstStyle/>
          <a:p>
            <a:r>
              <a:rPr lang="en-GB" dirty="0"/>
              <a:t>How naivety helped me choose a great project</a:t>
            </a:r>
          </a:p>
        </p:txBody>
      </p:sp>
      <p:pic>
        <p:nvPicPr>
          <p:cNvPr id="72708" name="Picture 4" descr="https://upload.wikimedia.org/wikipedia/commons/thumb/8/86/Microsoft_Excel_2013_logo.svg/611px-Microsoft_Excel_2013_logo.svg.png">
            <a:extLst>
              <a:ext uri="{FF2B5EF4-FFF2-40B4-BE49-F238E27FC236}">
                <a16:creationId xmlns:a16="http://schemas.microsoft.com/office/drawing/2014/main" id="{AA274AA3-2F31-4C79-9A82-894F475303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788" y="4442298"/>
            <a:ext cx="191595" cy="188146"/>
          </a:xfrm>
          <a:prstGeom prst="rect">
            <a:avLst/>
          </a:prstGeom>
          <a:noFill/>
          <a:extLst>
            <a:ext uri="{909E8E84-426E-40DD-AFC4-6F175D3DCCD1}">
              <a14:hiddenFill xmlns:a14="http://schemas.microsoft.com/office/drawing/2010/main">
                <a:solidFill>
                  <a:srgbClr val="FFFFFF"/>
                </a:solidFill>
              </a14:hiddenFill>
            </a:ext>
          </a:extLst>
        </p:spPr>
      </p:pic>
      <p:pic>
        <p:nvPicPr>
          <p:cNvPr id="72710" name="Picture 6" descr="Sorting Reducer Input Values in Hadoop">
            <a:extLst>
              <a:ext uri="{FF2B5EF4-FFF2-40B4-BE49-F238E27FC236}">
                <a16:creationId xmlns:a16="http://schemas.microsoft.com/office/drawing/2014/main" id="{03448F29-AA01-446D-B986-B9BCF55168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36160" y="2227557"/>
            <a:ext cx="3203848" cy="2402886"/>
          </a:xfrm>
          <a:prstGeom prst="rect">
            <a:avLst/>
          </a:prstGeom>
          <a:noFill/>
          <a:extLst>
            <a:ext uri="{909E8E84-426E-40DD-AFC4-6F175D3DCCD1}">
              <a14:hiddenFill xmlns:a14="http://schemas.microsoft.com/office/drawing/2010/main">
                <a:solidFill>
                  <a:srgbClr val="FFFFFF"/>
                </a:solidFill>
              </a14:hiddenFill>
            </a:ext>
          </a:extLst>
        </p:spPr>
      </p:pic>
      <p:pic>
        <p:nvPicPr>
          <p:cNvPr id="72712" name="Picture 8" descr="https://cdn.app.compendium.com/uploads/user/e7c690e8-6ff9-102a-ac6d-e4aebca50425/ee090372-8a63-44d7-b163-306184b9d293/File/cde43891991f76a5e7df17ac6d373aff/mysql_logo_png_transparent.png">
            <a:extLst>
              <a:ext uri="{FF2B5EF4-FFF2-40B4-BE49-F238E27FC236}">
                <a16:creationId xmlns:a16="http://schemas.microsoft.com/office/drawing/2014/main" id="{A320C1D3-724F-4959-B585-09674464FA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010" y="2224399"/>
            <a:ext cx="3470384" cy="2406044"/>
          </a:xfrm>
          <a:prstGeom prst="rect">
            <a:avLst/>
          </a:prstGeom>
          <a:noFill/>
          <a:extLst>
            <a:ext uri="{909E8E84-426E-40DD-AFC4-6F175D3DCCD1}">
              <a14:hiddenFill xmlns:a14="http://schemas.microsoft.com/office/drawing/2010/main">
                <a:solidFill>
                  <a:srgbClr val="FFFFFF"/>
                </a:solidFill>
              </a14:hiddenFill>
            </a:ext>
          </a:extLst>
        </p:spPr>
      </p:pic>
      <p:pic>
        <p:nvPicPr>
          <p:cNvPr id="72714" name="Picture 10" descr="https://www.younggates.com/uploads/1547662972python2.png">
            <a:extLst>
              <a:ext uri="{FF2B5EF4-FFF2-40B4-BE49-F238E27FC236}">
                <a16:creationId xmlns:a16="http://schemas.microsoft.com/office/drawing/2014/main" id="{940F1184-3C1B-4D2C-96CC-BD959CE9C2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5650" r="23058"/>
          <a:stretch/>
        </p:blipFill>
        <p:spPr bwMode="auto">
          <a:xfrm>
            <a:off x="4224000" y="1772816"/>
            <a:ext cx="3312160" cy="3228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08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Future work</a:t>
            </a:r>
          </a:p>
        </p:txBody>
      </p:sp>
      <p:sp>
        <p:nvSpPr>
          <p:cNvPr id="6" name="Text Placeholder 5"/>
          <p:cNvSpPr>
            <a:spLocks noGrp="1"/>
          </p:cNvSpPr>
          <p:nvPr>
            <p:ph type="body" sz="quarter" idx="11"/>
          </p:nvPr>
        </p:nvSpPr>
        <p:spPr>
          <a:xfrm>
            <a:off x="227349" y="1148607"/>
            <a:ext cx="11700000" cy="504056"/>
          </a:xfrm>
        </p:spPr>
        <p:txBody>
          <a:bodyPr/>
          <a:lstStyle/>
          <a:p>
            <a:r>
              <a:rPr lang="en-GB" dirty="0"/>
              <a:t>The never-ending project</a:t>
            </a:r>
          </a:p>
        </p:txBody>
      </p:sp>
      <p:sp>
        <p:nvSpPr>
          <p:cNvPr id="8" name="Oval 7">
            <a:extLst>
              <a:ext uri="{FF2B5EF4-FFF2-40B4-BE49-F238E27FC236}">
                <a16:creationId xmlns:a16="http://schemas.microsoft.com/office/drawing/2014/main" id="{3D1868CE-E0DA-42BE-8A4C-43E5776EF0F2}"/>
              </a:ext>
            </a:extLst>
          </p:cNvPr>
          <p:cNvSpPr/>
          <p:nvPr/>
        </p:nvSpPr>
        <p:spPr>
          <a:xfrm>
            <a:off x="1253902" y="2105187"/>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2" name="Group 11">
            <a:extLst>
              <a:ext uri="{FF2B5EF4-FFF2-40B4-BE49-F238E27FC236}">
                <a16:creationId xmlns:a16="http://schemas.microsoft.com/office/drawing/2014/main" id="{C498CF6C-E057-441D-A381-46FEEBA3F90B}"/>
              </a:ext>
            </a:extLst>
          </p:cNvPr>
          <p:cNvGrpSpPr/>
          <p:nvPr/>
        </p:nvGrpSpPr>
        <p:grpSpPr>
          <a:xfrm>
            <a:off x="9149194" y="2061000"/>
            <a:ext cx="1764196" cy="1764196"/>
            <a:chOff x="8760296" y="2528900"/>
            <a:chExt cx="1764196" cy="1764196"/>
          </a:xfrm>
        </p:grpSpPr>
        <p:sp>
          <p:nvSpPr>
            <p:cNvPr id="13" name="Oval 12">
              <a:extLst>
                <a:ext uri="{FF2B5EF4-FFF2-40B4-BE49-F238E27FC236}">
                  <a16:creationId xmlns:a16="http://schemas.microsoft.com/office/drawing/2014/main" id="{6C0C5FB9-CAC8-4D72-9BDD-401CC61C450B}"/>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4" name="Group 13">
              <a:extLst>
                <a:ext uri="{FF2B5EF4-FFF2-40B4-BE49-F238E27FC236}">
                  <a16:creationId xmlns:a16="http://schemas.microsoft.com/office/drawing/2014/main" id="{DEBB5B46-D69C-485D-B999-772BE49EADAD}"/>
                </a:ext>
              </a:extLst>
            </p:cNvPr>
            <p:cNvGrpSpPr/>
            <p:nvPr/>
          </p:nvGrpSpPr>
          <p:grpSpPr>
            <a:xfrm>
              <a:off x="8920318" y="2688922"/>
              <a:ext cx="1444152" cy="1444152"/>
              <a:chOff x="8920318" y="2748393"/>
              <a:chExt cx="1444152" cy="1444152"/>
            </a:xfrm>
          </p:grpSpPr>
          <p:sp>
            <p:nvSpPr>
              <p:cNvPr id="15" name="Rectangle 73737">
                <a:extLst>
                  <a:ext uri="{FF2B5EF4-FFF2-40B4-BE49-F238E27FC236}">
                    <a16:creationId xmlns:a16="http://schemas.microsoft.com/office/drawing/2014/main" id="{3BFC4D74-A4A7-4343-B0ED-6A147A8D9C96}"/>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6" name="Picture 6" descr="http://icons.iconarchive.com/icons/iconsmind/outline/512/Line-Chart-icon.png">
                <a:extLst>
                  <a:ext uri="{FF2B5EF4-FFF2-40B4-BE49-F238E27FC236}">
                    <a16:creationId xmlns:a16="http://schemas.microsoft.com/office/drawing/2014/main" id="{303D649E-ADFE-4D37-880B-1ED750904D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AB33493A-B4DA-4148-A529-F4BF3118A77A}"/>
              </a:ext>
            </a:extLst>
          </p:cNvPr>
          <p:cNvCxnSpPr>
            <a:cxnSpLocks/>
          </p:cNvCxnSpPr>
          <p:nvPr/>
        </p:nvCxnSpPr>
        <p:spPr>
          <a:xfrm>
            <a:off x="3288000" y="2987285"/>
            <a:ext cx="169972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D00DCE-0071-454E-8D97-76773C97D871}"/>
              </a:ext>
            </a:extLst>
          </p:cNvPr>
          <p:cNvCxnSpPr>
            <a:cxnSpLocks/>
          </p:cNvCxnSpPr>
          <p:nvPr/>
        </p:nvCxnSpPr>
        <p:spPr>
          <a:xfrm>
            <a:off x="7204281" y="2987285"/>
            <a:ext cx="1699719"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B27EA89-56A7-4640-BF97-177169220E44}"/>
              </a:ext>
            </a:extLst>
          </p:cNvPr>
          <p:cNvGrpSpPr/>
          <p:nvPr/>
        </p:nvGrpSpPr>
        <p:grpSpPr>
          <a:xfrm>
            <a:off x="4939784" y="2865082"/>
            <a:ext cx="2312432" cy="2779714"/>
            <a:chOff x="4939784" y="2865082"/>
            <a:chExt cx="2312432" cy="2779714"/>
          </a:xfrm>
        </p:grpSpPr>
        <p:sp>
          <p:nvSpPr>
            <p:cNvPr id="23" name="Flowchart: Connector 22">
              <a:extLst>
                <a:ext uri="{FF2B5EF4-FFF2-40B4-BE49-F238E27FC236}">
                  <a16:creationId xmlns:a16="http://schemas.microsoft.com/office/drawing/2014/main" id="{BCC247B7-27E9-43C5-9A19-C7881C1EC9EE}"/>
                </a:ext>
              </a:extLst>
            </p:cNvPr>
            <p:cNvSpPr/>
            <p:nvPr/>
          </p:nvSpPr>
          <p:spPr>
            <a:xfrm>
              <a:off x="4939784" y="3332364"/>
              <a:ext cx="2312432" cy="2312432"/>
            </a:xfrm>
            <a:prstGeom prst="flowChartConnector">
              <a:avLst/>
            </a:prstGeom>
            <a:noFill/>
            <a:ln w="76200">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ectangle 23">
              <a:extLst>
                <a:ext uri="{FF2B5EF4-FFF2-40B4-BE49-F238E27FC236}">
                  <a16:creationId xmlns:a16="http://schemas.microsoft.com/office/drawing/2014/main" id="{82458297-9424-4263-A1DE-EB5F554800E2}"/>
                </a:ext>
              </a:extLst>
            </p:cNvPr>
            <p:cNvSpPr/>
            <p:nvPr/>
          </p:nvSpPr>
          <p:spPr>
            <a:xfrm rot="2376610">
              <a:off x="6156595" y="3130670"/>
              <a:ext cx="836443" cy="4842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3FF99009-C144-4C98-8DBF-BBFE09051168}"/>
                </a:ext>
              </a:extLst>
            </p:cNvPr>
            <p:cNvSpPr/>
            <p:nvPr/>
          </p:nvSpPr>
          <p:spPr>
            <a:xfrm rot="2376610">
              <a:off x="5132916" y="2865082"/>
              <a:ext cx="803039" cy="1099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991812CE-2776-4554-AFBD-3CCE7221733D}"/>
                </a:ext>
              </a:extLst>
            </p:cNvPr>
            <p:cNvSpPr/>
            <p:nvPr/>
          </p:nvSpPr>
          <p:spPr>
            <a:xfrm>
              <a:off x="5808000" y="3252405"/>
              <a:ext cx="597719" cy="282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Isosceles Triangle 26">
              <a:extLst>
                <a:ext uri="{FF2B5EF4-FFF2-40B4-BE49-F238E27FC236}">
                  <a16:creationId xmlns:a16="http://schemas.microsoft.com/office/drawing/2014/main" id="{82056269-C8F6-49D8-B27D-F877A068CD0D}"/>
                </a:ext>
              </a:extLst>
            </p:cNvPr>
            <p:cNvSpPr/>
            <p:nvPr/>
          </p:nvSpPr>
          <p:spPr>
            <a:xfrm rot="2396158">
              <a:off x="5121755" y="3631548"/>
              <a:ext cx="198114" cy="212078"/>
            </a:xfrm>
            <a:prstGeom prst="triangle">
              <a:avLst/>
            </a:prstGeom>
            <a:solidFill>
              <a:srgbClr val="6D64CC"/>
            </a:solidFill>
            <a:ln>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9" name="Oval 28">
            <a:extLst>
              <a:ext uri="{FF2B5EF4-FFF2-40B4-BE49-F238E27FC236}">
                <a16:creationId xmlns:a16="http://schemas.microsoft.com/office/drawing/2014/main" id="{4B216BFA-77AC-48F5-B3BC-F0D53CD24112}"/>
              </a:ext>
            </a:extLst>
          </p:cNvPr>
          <p:cNvSpPr/>
          <p:nvPr/>
        </p:nvSpPr>
        <p:spPr>
          <a:xfrm>
            <a:off x="5213901" y="2130716"/>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0" name="Picture 10" descr="https://www.younggates.com/uploads/1547662972python2.png">
            <a:extLst>
              <a:ext uri="{FF2B5EF4-FFF2-40B4-BE49-F238E27FC236}">
                <a16:creationId xmlns:a16="http://schemas.microsoft.com/office/drawing/2014/main" id="{1FD9AB85-9895-42A3-AB76-7277CD610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650" r="23058"/>
          <a:stretch/>
        </p:blipFill>
        <p:spPr bwMode="auto">
          <a:xfrm>
            <a:off x="5755543" y="5724755"/>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73730" name="Picture 2" descr="https://www.atmosphere-eubrazil.eu/sites/all/themes/theme1/images/icons/2.png">
            <a:extLst>
              <a:ext uri="{FF2B5EF4-FFF2-40B4-BE49-F238E27FC236}">
                <a16:creationId xmlns:a16="http://schemas.microsoft.com/office/drawing/2014/main" id="{A68445D0-90AC-4318-ABA7-1E5CB02FFC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3721" y="2119916"/>
            <a:ext cx="1784558" cy="178579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close up of an animal&#10;&#10;Description automatically generated">
            <a:extLst>
              <a:ext uri="{FF2B5EF4-FFF2-40B4-BE49-F238E27FC236}">
                <a16:creationId xmlns:a16="http://schemas.microsoft.com/office/drawing/2014/main" id="{C6F98A96-53C0-4AAF-A3BA-3386124712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9488" y="1973686"/>
            <a:ext cx="1908796" cy="1908796"/>
          </a:xfrm>
          <a:prstGeom prst="rect">
            <a:avLst/>
          </a:prstGeom>
        </p:spPr>
      </p:pic>
      <p:pic>
        <p:nvPicPr>
          <p:cNvPr id="73732" name="Picture 4" descr="https://r00t4bl3.com/uploads/postman-295a12547c5f7c3320143dd0dbe54084.png">
            <a:extLst>
              <a:ext uri="{FF2B5EF4-FFF2-40B4-BE49-F238E27FC236}">
                <a16:creationId xmlns:a16="http://schemas.microsoft.com/office/drawing/2014/main" id="{6B3FB506-3D5B-491E-8F46-A94CDBCDD3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3097" r="63713" b="18444"/>
          <a:stretch/>
        </p:blipFill>
        <p:spPr bwMode="auto">
          <a:xfrm>
            <a:off x="3691071" y="2194915"/>
            <a:ext cx="717114" cy="72204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Sorting Reducer Input Values in Hadoop">
            <a:extLst>
              <a:ext uri="{FF2B5EF4-FFF2-40B4-BE49-F238E27FC236}">
                <a16:creationId xmlns:a16="http://schemas.microsoft.com/office/drawing/2014/main" id="{41407086-6FDF-4072-88F0-D40AD50869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4939" y="4166777"/>
            <a:ext cx="1223840" cy="917880"/>
          </a:xfrm>
          <a:prstGeom prst="rect">
            <a:avLst/>
          </a:prstGeom>
          <a:noFill/>
          <a:extLst>
            <a:ext uri="{909E8E84-426E-40DD-AFC4-6F175D3DCCD1}">
              <a14:hiddenFill xmlns:a14="http://schemas.microsoft.com/office/drawing/2010/main">
                <a:solidFill>
                  <a:srgbClr val="FFFFFF"/>
                </a:solidFill>
              </a14:hiddenFill>
            </a:ext>
          </a:extLst>
        </p:spPr>
      </p:pic>
      <p:pic>
        <p:nvPicPr>
          <p:cNvPr id="73734" name="Picture 6" descr="https://upload.wikimedia.org/wikipedia/commons/thumb/f/f3/Apache_Spark_logo.svg/1280px-Apache_Spark_logo.svg.png">
            <a:extLst>
              <a:ext uri="{FF2B5EF4-FFF2-40B4-BE49-F238E27FC236}">
                <a16:creationId xmlns:a16="http://schemas.microsoft.com/office/drawing/2014/main" id="{5994D148-E1DB-40D5-BF0A-16B08130B8B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4000" y="2310626"/>
            <a:ext cx="1042401" cy="5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243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1A2116-E0BE-4086-817F-922FAF2FDF90}"/>
              </a:ext>
            </a:extLst>
          </p:cNvPr>
          <p:cNvSpPr>
            <a:spLocks noGrp="1"/>
          </p:cNvSpPr>
          <p:nvPr>
            <p:ph type="body" sz="quarter" idx="10"/>
          </p:nvPr>
        </p:nvSpPr>
        <p:spPr>
          <a:xfrm>
            <a:off x="408000" y="2061000"/>
            <a:ext cx="4824000" cy="1080000"/>
          </a:xfrm>
        </p:spPr>
        <p:txBody>
          <a:bodyPr/>
          <a:lstStyle/>
          <a:p>
            <a:r>
              <a:rPr lang="en-US" dirty="0"/>
              <a:t>Our mind is all we've got. Not that it won't lead us astray sometimes, but we still have to analyze things out within ourselves.</a:t>
            </a:r>
          </a:p>
          <a:p>
            <a:r>
              <a:rPr lang="en-US" dirty="0"/>
              <a:t>-- Bobby Fischer</a:t>
            </a:r>
          </a:p>
          <a:p>
            <a:endParaRPr lang="en-AU" dirty="0"/>
          </a:p>
        </p:txBody>
      </p:sp>
      <p:sp>
        <p:nvSpPr>
          <p:cNvPr id="10" name="Oval 20">
            <a:extLst>
              <a:ext uri="{FF2B5EF4-FFF2-40B4-BE49-F238E27FC236}">
                <a16:creationId xmlns:a16="http://schemas.microsoft.com/office/drawing/2014/main" id="{2DE70570-8B1B-4B2F-B9C6-491A38B40503}"/>
              </a:ext>
            </a:extLst>
          </p:cNvPr>
          <p:cNvSpPr/>
          <p:nvPr/>
        </p:nvSpPr>
        <p:spPr>
          <a:xfrm>
            <a:off x="4440000" y="1093225"/>
            <a:ext cx="8187427" cy="77357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Picture 13" descr="https://cdn-s3.si.com/s3fs-public/bobby-fischer-vault.jpg">
            <a:extLst>
              <a:ext uri="{FF2B5EF4-FFF2-40B4-BE49-F238E27FC236}">
                <a16:creationId xmlns:a16="http://schemas.microsoft.com/office/drawing/2014/main" id="{8D1270D7-3CB2-422D-90AE-17216701A3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630" r="9889"/>
          <a:stretch>
            <a:fillRect/>
          </a:stretch>
        </p:blipFill>
        <p:spPr bwMode="auto">
          <a:xfrm>
            <a:off x="4552254" y="1151998"/>
            <a:ext cx="8024472" cy="5733002"/>
          </a:xfrm>
          <a:custGeom>
            <a:avLst/>
            <a:gdLst>
              <a:gd name="connsiteX0" fmla="*/ 4012236 w 8024472"/>
              <a:gd name="connsiteY0" fmla="*/ 58 h 5733002"/>
              <a:gd name="connsiteX1" fmla="*/ 8024472 w 8024472"/>
              <a:gd name="connsiteY1" fmla="*/ 3787810 h 5733002"/>
              <a:gd name="connsiteX2" fmla="*/ 7440348 w 8024472"/>
              <a:gd name="connsiteY2" fmla="*/ 5565409 h 5733002"/>
              <a:gd name="connsiteX3" fmla="*/ 7312403 w 8024472"/>
              <a:gd name="connsiteY3" fmla="*/ 5733002 h 5733002"/>
              <a:gd name="connsiteX4" fmla="*/ 514663 w 8024472"/>
              <a:gd name="connsiteY4" fmla="*/ 5733002 h 5733002"/>
              <a:gd name="connsiteX5" fmla="*/ 447095 w 8024472"/>
              <a:gd name="connsiteY5" fmla="*/ 5618826 h 5733002"/>
              <a:gd name="connsiteX6" fmla="*/ 0 w 8024472"/>
              <a:gd name="connsiteY6" fmla="*/ 3787810 h 5733002"/>
              <a:gd name="connsiteX7" fmla="*/ 4012236 w 8024472"/>
              <a:gd name="connsiteY7" fmla="*/ 58 h 573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4472" h="5733002">
                <a:moveTo>
                  <a:pt x="4012236" y="58"/>
                </a:moveTo>
                <a:cubicBezTo>
                  <a:pt x="6389573" y="-11474"/>
                  <a:pt x="8024472" y="1695892"/>
                  <a:pt x="8024472" y="3787810"/>
                </a:cubicBezTo>
                <a:cubicBezTo>
                  <a:pt x="8024472" y="4441535"/>
                  <a:pt x="7800627" y="5043067"/>
                  <a:pt x="7440348" y="5565409"/>
                </a:cubicBezTo>
                <a:lnTo>
                  <a:pt x="7312403" y="5733002"/>
                </a:lnTo>
                <a:lnTo>
                  <a:pt x="514663" y="5733002"/>
                </a:lnTo>
                <a:lnTo>
                  <a:pt x="447095" y="5618826"/>
                </a:lnTo>
                <a:cubicBezTo>
                  <a:pt x="157407" y="5068966"/>
                  <a:pt x="0" y="4441535"/>
                  <a:pt x="0" y="3787810"/>
                </a:cubicBezTo>
                <a:cubicBezTo>
                  <a:pt x="0" y="1695892"/>
                  <a:pt x="1877051" y="46184"/>
                  <a:pt x="4012236" y="58"/>
                </a:cubicBezTo>
                <a:close/>
              </a:path>
            </a:pathLst>
          </a:custGeom>
          <a:noFill/>
          <a:extLst>
            <a:ext uri="{909E8E84-426E-40DD-AFC4-6F175D3DCCD1}">
              <a14:hiddenFill xmlns:a14="http://schemas.microsoft.com/office/drawing/2010/main">
                <a:solidFill>
                  <a:srgbClr val="FFFFFF"/>
                </a:solidFill>
              </a14:hiddenFill>
            </a:ext>
          </a:extLst>
        </p:spPr>
      </p:pic>
      <p:sp>
        <p:nvSpPr>
          <p:cNvPr id="6" name="Text Placeholder 5">
            <a:extLst>
              <a:ext uri="{FF2B5EF4-FFF2-40B4-BE49-F238E27FC236}">
                <a16:creationId xmlns:a16="http://schemas.microsoft.com/office/drawing/2014/main" id="{6EDDEBA8-EB5E-4A57-8CE9-3BA40B3841B5}"/>
              </a:ext>
            </a:extLst>
          </p:cNvPr>
          <p:cNvSpPr>
            <a:spLocks noGrp="1"/>
          </p:cNvSpPr>
          <p:nvPr>
            <p:ph type="body" sz="quarter" idx="13"/>
          </p:nvPr>
        </p:nvSpPr>
        <p:spPr>
          <a:xfrm>
            <a:off x="415625" y="5045355"/>
            <a:ext cx="3296647" cy="412363"/>
          </a:xfrm>
        </p:spPr>
        <p:txBody>
          <a:bodyPr/>
          <a:lstStyle/>
          <a:p>
            <a:r>
              <a:rPr lang="en-US" sz="4000" dirty="0">
                <a:solidFill>
                  <a:srgbClr val="FF304C"/>
                </a:solidFill>
              </a:rPr>
              <a:t>Thank you</a:t>
            </a:r>
            <a:endParaRPr lang="en-AU" sz="4000" dirty="0">
              <a:solidFill>
                <a:srgbClr val="FF304C"/>
              </a:solidFill>
            </a:endParaRPr>
          </a:p>
        </p:txBody>
      </p:sp>
    </p:spTree>
    <p:extLst>
      <p:ext uri="{BB962C8B-B14F-4D97-AF65-F5344CB8AC3E}">
        <p14:creationId xmlns:p14="http://schemas.microsoft.com/office/powerpoint/2010/main" val="2609631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084308C-1292-4F04-B6B8-E3277F28A687}"/>
              </a:ext>
            </a:extLst>
          </p:cNvPr>
          <p:cNvPicPr>
            <a:picLocks noChangeAspect="1"/>
          </p:cNvPicPr>
          <p:nvPr/>
        </p:nvPicPr>
        <p:blipFill>
          <a:blip r:embed="rId3"/>
          <a:srcRect l="1290" r="2368"/>
          <a:stretch>
            <a:fillRect/>
          </a:stretch>
        </p:blipFill>
        <p:spPr>
          <a:xfrm>
            <a:off x="7118156" y="1148606"/>
            <a:ext cx="4601400" cy="4750977"/>
          </a:xfrm>
          <a:custGeom>
            <a:avLst/>
            <a:gdLst>
              <a:gd name="connsiteX0" fmla="*/ 2613148 w 5230644"/>
              <a:gd name="connsiteY0" fmla="*/ 0 h 5400675"/>
              <a:gd name="connsiteX1" fmla="*/ 2613246 w 5230644"/>
              <a:gd name="connsiteY1" fmla="*/ 0 h 5400675"/>
              <a:gd name="connsiteX2" fmla="*/ 2747389 w 5230644"/>
              <a:gd name="connsiteY2" fmla="*/ 4480 h 5400675"/>
              <a:gd name="connsiteX3" fmla="*/ 5226334 w 5230644"/>
              <a:gd name="connsiteY3" fmla="*/ 2712899 h 5400675"/>
              <a:gd name="connsiteX4" fmla="*/ 3143417 w 5230644"/>
              <a:gd name="connsiteY4" fmla="*/ 5375800 h 5400675"/>
              <a:gd name="connsiteX5" fmla="*/ 2968933 w 5230644"/>
              <a:gd name="connsiteY5" fmla="*/ 5400675 h 5400675"/>
              <a:gd name="connsiteX6" fmla="*/ 2282749 w 5230644"/>
              <a:gd name="connsiteY6" fmla="*/ 5400675 h 5400675"/>
              <a:gd name="connsiteX7" fmla="*/ 2087853 w 5230644"/>
              <a:gd name="connsiteY7" fmla="*/ 5368445 h 5400675"/>
              <a:gd name="connsiteX8" fmla="*/ 41 w 5230644"/>
              <a:gd name="connsiteY8" fmla="*/ 2712899 h 5400675"/>
              <a:gd name="connsiteX9" fmla="*/ 2345922 w 5230644"/>
              <a:gd name="connsiteY9" fmla="*/ 12805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0644" h="5400675">
                <a:moveTo>
                  <a:pt x="2613148" y="0"/>
                </a:moveTo>
                <a:lnTo>
                  <a:pt x="2613246" y="0"/>
                </a:lnTo>
                <a:lnTo>
                  <a:pt x="2747389" y="4480"/>
                </a:lnTo>
                <a:cubicBezTo>
                  <a:pt x="4122588" y="96487"/>
                  <a:pt x="5133857" y="1586212"/>
                  <a:pt x="5226334" y="2712899"/>
                </a:cubicBezTo>
                <a:cubicBezTo>
                  <a:pt x="5302902" y="4133060"/>
                  <a:pt x="4349737" y="5145004"/>
                  <a:pt x="3143417" y="5375800"/>
                </a:cubicBezTo>
                <a:lnTo>
                  <a:pt x="2968933" y="5400675"/>
                </a:lnTo>
                <a:lnTo>
                  <a:pt x="2282749" y="5400675"/>
                </a:lnTo>
                <a:lnTo>
                  <a:pt x="2087853" y="5368445"/>
                </a:lnTo>
                <a:cubicBezTo>
                  <a:pt x="902741" y="5105778"/>
                  <a:pt x="27885" y="3976154"/>
                  <a:pt x="41" y="2712899"/>
                </a:cubicBezTo>
                <a:cubicBezTo>
                  <a:pt x="-7418" y="1205912"/>
                  <a:pt x="1027381" y="140140"/>
                  <a:pt x="2345922" y="12805"/>
                </a:cubicBezTo>
                <a:close/>
              </a:path>
            </a:pathLst>
          </a:custGeom>
        </p:spPr>
      </p:pic>
      <p:pic>
        <p:nvPicPr>
          <p:cNvPr id="2" name="Picture 1">
            <a:extLst>
              <a:ext uri="{FF2B5EF4-FFF2-40B4-BE49-F238E27FC236}">
                <a16:creationId xmlns:a16="http://schemas.microsoft.com/office/drawing/2014/main" id="{25842AAD-FF8F-4C25-96BF-4432A133736B}"/>
              </a:ext>
            </a:extLst>
          </p:cNvPr>
          <p:cNvPicPr>
            <a:picLocks noChangeAspect="1"/>
          </p:cNvPicPr>
          <p:nvPr/>
        </p:nvPicPr>
        <p:blipFill rotWithShape="1">
          <a:blip r:embed="rId4"/>
          <a:srcRect l="1335" t="963" r="2949" b="6572"/>
          <a:stretch/>
        </p:blipFill>
        <p:spPr>
          <a:xfrm>
            <a:off x="563665" y="1928263"/>
            <a:ext cx="3948159" cy="3944280"/>
          </a:xfrm>
          <a:prstGeom prst="rect">
            <a:avLst/>
          </a:prstGeom>
        </p:spPr>
      </p:pic>
      <p:sp>
        <p:nvSpPr>
          <p:cNvPr id="4" name="Title 3"/>
          <p:cNvSpPr>
            <a:spLocks noGrp="1"/>
          </p:cNvSpPr>
          <p:nvPr>
            <p:ph type="title"/>
          </p:nvPr>
        </p:nvSpPr>
        <p:spPr/>
        <p:txBody>
          <a:bodyPr/>
          <a:lstStyle/>
          <a:p>
            <a:br>
              <a:rPr lang="en-US" dirty="0"/>
            </a:br>
            <a:r>
              <a:rPr lang="en-US" dirty="0"/>
              <a:t>(Li)chess</a:t>
            </a:r>
            <a:endParaRPr lang="en-GB" dirty="0"/>
          </a:p>
        </p:txBody>
      </p:sp>
      <p:sp>
        <p:nvSpPr>
          <p:cNvPr id="6" name="Text Placeholder 5"/>
          <p:cNvSpPr>
            <a:spLocks noGrp="1"/>
          </p:cNvSpPr>
          <p:nvPr>
            <p:ph type="body" sz="quarter" idx="11"/>
          </p:nvPr>
        </p:nvSpPr>
        <p:spPr/>
        <p:txBody>
          <a:bodyPr/>
          <a:lstStyle/>
          <a:p>
            <a:r>
              <a:rPr lang="en-GB" dirty="0"/>
              <a:t>A brief history</a:t>
            </a:r>
          </a:p>
        </p:txBody>
      </p:sp>
      <p:pic>
        <p:nvPicPr>
          <p:cNvPr id="7" name="Picture 6" descr="A close up of an animal&#10;&#10;Description automatically generated">
            <a:extLst>
              <a:ext uri="{FF2B5EF4-FFF2-40B4-BE49-F238E27FC236}">
                <a16:creationId xmlns:a16="http://schemas.microsoft.com/office/drawing/2014/main" id="{FFC08AAA-B56D-4E96-9996-A95790E3E9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5680" y="958416"/>
            <a:ext cx="4941168" cy="494116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PGN</a:t>
            </a:r>
            <a:endParaRPr lang="en-GB" dirty="0"/>
          </a:p>
        </p:txBody>
      </p:sp>
      <p:sp>
        <p:nvSpPr>
          <p:cNvPr id="6" name="Text Placeholder 5"/>
          <p:cNvSpPr>
            <a:spLocks noGrp="1"/>
          </p:cNvSpPr>
          <p:nvPr>
            <p:ph type="body" sz="quarter" idx="11"/>
          </p:nvPr>
        </p:nvSpPr>
        <p:spPr>
          <a:xfrm>
            <a:off x="227349" y="1148607"/>
            <a:ext cx="11700000" cy="504056"/>
          </a:xfrm>
        </p:spPr>
        <p:txBody>
          <a:bodyPr/>
          <a:lstStyle/>
          <a:p>
            <a:r>
              <a:rPr lang="en-GB" dirty="0"/>
              <a:t>No, they aren’t pictures</a:t>
            </a:r>
          </a:p>
        </p:txBody>
      </p:sp>
      <p:pic>
        <p:nvPicPr>
          <p:cNvPr id="5" name="Picture 4" descr="A screenshot of a video game&#10;&#10;Description automatically generated">
            <a:extLst>
              <a:ext uri="{FF2B5EF4-FFF2-40B4-BE49-F238E27FC236}">
                <a16:creationId xmlns:a16="http://schemas.microsoft.com/office/drawing/2014/main" id="{2C3970E4-D3D1-4474-96C5-8174D5FF76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2009" y="1916832"/>
            <a:ext cx="7671333" cy="3674504"/>
          </a:xfrm>
          <a:prstGeom prst="rect">
            <a:avLst/>
          </a:prstGeom>
        </p:spPr>
      </p:pic>
      <p:grpSp>
        <p:nvGrpSpPr>
          <p:cNvPr id="18" name="Group 17">
            <a:extLst>
              <a:ext uri="{FF2B5EF4-FFF2-40B4-BE49-F238E27FC236}">
                <a16:creationId xmlns:a16="http://schemas.microsoft.com/office/drawing/2014/main" id="{E8A2E552-AB9E-42DB-B2B7-0B2E5FCA9AD5}"/>
              </a:ext>
            </a:extLst>
          </p:cNvPr>
          <p:cNvGrpSpPr/>
          <p:nvPr/>
        </p:nvGrpSpPr>
        <p:grpSpPr>
          <a:xfrm>
            <a:off x="693529" y="2133000"/>
            <a:ext cx="5258471" cy="4410297"/>
            <a:chOff x="693529" y="2133000"/>
            <a:chExt cx="5258471" cy="4410297"/>
          </a:xfrm>
        </p:grpSpPr>
        <p:sp>
          <p:nvSpPr>
            <p:cNvPr id="19" name="Rectangle 18">
              <a:extLst>
                <a:ext uri="{FF2B5EF4-FFF2-40B4-BE49-F238E27FC236}">
                  <a16:creationId xmlns:a16="http://schemas.microsoft.com/office/drawing/2014/main" id="{4F5431F4-B67C-46A2-80F0-368D0468BE2C}"/>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0" name="Picture 19">
              <a:extLst>
                <a:ext uri="{FF2B5EF4-FFF2-40B4-BE49-F238E27FC236}">
                  <a16:creationId xmlns:a16="http://schemas.microsoft.com/office/drawing/2014/main" id="{638F88B8-D184-4FD4-9744-283535C2B9C5}"/>
                </a:ext>
              </a:extLst>
            </p:cNvPr>
            <p:cNvPicPr>
              <a:picLocks noChangeAspect="1"/>
            </p:cNvPicPr>
            <p:nvPr/>
          </p:nvPicPr>
          <p:blipFill>
            <a:blip r:embed="rId4"/>
            <a:stretch>
              <a:fillRect/>
            </a:stretch>
          </p:blipFill>
          <p:spPr>
            <a:xfrm>
              <a:off x="693529" y="2277000"/>
              <a:ext cx="5096438" cy="4266297"/>
            </a:xfrm>
            <a:prstGeom prst="rect">
              <a:avLst/>
            </a:prstGeom>
            <a:noFill/>
            <a:ln w="76200">
              <a:solidFill>
                <a:schemeClr val="bg1"/>
              </a:solidFill>
            </a:ln>
            <a:effectLst>
              <a:softEdge rad="12700"/>
            </a:effectLst>
          </p:spPr>
        </p:pic>
      </p:grpSp>
    </p:spTree>
    <p:extLst>
      <p:ext uri="{BB962C8B-B14F-4D97-AF65-F5344CB8AC3E}">
        <p14:creationId xmlns:p14="http://schemas.microsoft.com/office/powerpoint/2010/main" val="355742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PGN</a:t>
            </a:r>
          </a:p>
        </p:txBody>
      </p:sp>
      <p:sp>
        <p:nvSpPr>
          <p:cNvPr id="6" name="Text Placeholder 5"/>
          <p:cNvSpPr>
            <a:spLocks noGrp="1"/>
          </p:cNvSpPr>
          <p:nvPr>
            <p:ph type="body" sz="quarter" idx="11"/>
          </p:nvPr>
        </p:nvSpPr>
        <p:spPr/>
        <p:txBody>
          <a:bodyPr/>
          <a:lstStyle/>
          <a:p>
            <a:r>
              <a:rPr lang="en-GB" dirty="0"/>
              <a:t>A standardised notation without structure</a:t>
            </a:r>
          </a:p>
        </p:txBody>
      </p: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cxnSp>
        <p:nvCxnSpPr>
          <p:cNvPr id="10" name="Straight Arrow Connector 9">
            <a:extLst>
              <a:ext uri="{FF2B5EF4-FFF2-40B4-BE49-F238E27FC236}">
                <a16:creationId xmlns:a16="http://schemas.microsoft.com/office/drawing/2014/main" id="{4F250E3D-CB57-493F-AB5F-ACDA666870E5}"/>
              </a:ext>
            </a:extLst>
          </p:cNvPr>
          <p:cNvCxnSpPr>
            <a:cxnSpLocks/>
          </p:cNvCxnSpPr>
          <p:nvPr/>
        </p:nvCxnSpPr>
        <p:spPr>
          <a:xfrm flipH="1">
            <a:off x="1560000" y="2205000"/>
            <a:ext cx="4536000" cy="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846A5A9-D3D2-4F5A-8951-62DBE98F547F}"/>
              </a:ext>
            </a:extLst>
          </p:cNvPr>
          <p:cNvSpPr txBox="1"/>
          <p:nvPr/>
        </p:nvSpPr>
        <p:spPr>
          <a:xfrm>
            <a:off x="6096000" y="1816381"/>
            <a:ext cx="3744000" cy="861774"/>
          </a:xfrm>
          <a:prstGeom prst="rect">
            <a:avLst/>
          </a:prstGeom>
          <a:noFill/>
        </p:spPr>
        <p:txBody>
          <a:bodyPr wrap="square" rtlCol="0">
            <a:spAutoFit/>
          </a:bodyPr>
          <a:lstStyle/>
          <a:p>
            <a:r>
              <a:rPr lang="en-US" sz="1600" b="1" dirty="0">
                <a:solidFill>
                  <a:srgbClr val="6D64CC"/>
                </a:solidFill>
              </a:rPr>
              <a:t>[header1: “data”]</a:t>
            </a:r>
          </a:p>
          <a:p>
            <a:r>
              <a:rPr lang="en-US" sz="1600" b="1" dirty="0">
                <a:solidFill>
                  <a:srgbClr val="6D64CC"/>
                </a:solidFill>
              </a:rPr>
              <a:t>[header2: “more data”]</a:t>
            </a:r>
          </a:p>
          <a:p>
            <a:r>
              <a:rPr lang="en-US" sz="1600" b="1" dirty="0">
                <a:solidFill>
                  <a:srgbClr val="6D64CC"/>
                </a:solidFill>
              </a:rPr>
              <a:t>…</a:t>
            </a:r>
          </a:p>
        </p:txBody>
      </p:sp>
      <p:cxnSp>
        <p:nvCxnSpPr>
          <p:cNvPr id="25" name="Straight Arrow Connector 24">
            <a:extLst>
              <a:ext uri="{FF2B5EF4-FFF2-40B4-BE49-F238E27FC236}">
                <a16:creationId xmlns:a16="http://schemas.microsoft.com/office/drawing/2014/main" id="{A345FCD5-90AB-433F-A7CE-958E7539989C}"/>
              </a:ext>
            </a:extLst>
          </p:cNvPr>
          <p:cNvCxnSpPr>
            <a:cxnSpLocks/>
          </p:cNvCxnSpPr>
          <p:nvPr/>
        </p:nvCxnSpPr>
        <p:spPr>
          <a:xfrm flipH="1" flipV="1">
            <a:off x="4716247" y="2953913"/>
            <a:ext cx="3215541" cy="35610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E05DB9F-77E5-43DC-B363-6F604E220D11}"/>
              </a:ext>
            </a:extLst>
          </p:cNvPr>
          <p:cNvSpPr txBox="1"/>
          <p:nvPr/>
        </p:nvSpPr>
        <p:spPr>
          <a:xfrm>
            <a:off x="6695515" y="3392686"/>
            <a:ext cx="3744000" cy="338554"/>
          </a:xfrm>
          <a:prstGeom prst="rect">
            <a:avLst/>
          </a:prstGeom>
          <a:noFill/>
        </p:spPr>
        <p:txBody>
          <a:bodyPr wrap="square" rtlCol="0">
            <a:spAutoFit/>
          </a:bodyPr>
          <a:lstStyle/>
          <a:p>
            <a:r>
              <a:rPr lang="en-US" sz="1600" b="1" dirty="0">
                <a:solidFill>
                  <a:srgbClr val="6D64CC"/>
                </a:solidFill>
              </a:rPr>
              <a:t>1. e4 e5 2. Nf3 Nc6 3…</a:t>
            </a:r>
          </a:p>
        </p:txBody>
      </p:sp>
    </p:spTree>
    <p:extLst>
      <p:ext uri="{BB962C8B-B14F-4D97-AF65-F5344CB8AC3E}">
        <p14:creationId xmlns:p14="http://schemas.microsoft.com/office/powerpoint/2010/main" val="645440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Hey now, you’re an all Star (Schema)</a:t>
            </a:r>
          </a:p>
        </p:txBody>
      </p:sp>
      <p:sp>
        <p:nvSpPr>
          <p:cNvPr id="6" name="Text Placeholder 5"/>
          <p:cNvSpPr>
            <a:spLocks noGrp="1"/>
          </p:cNvSpPr>
          <p:nvPr>
            <p:ph type="body" sz="quarter" idx="11"/>
          </p:nvPr>
        </p:nvSpPr>
        <p:spPr/>
        <p:txBody>
          <a:bodyPr/>
          <a:lstStyle/>
          <a:p>
            <a:r>
              <a:rPr lang="en-GB" dirty="0"/>
              <a:t>A standardised notation without structure</a:t>
            </a:r>
          </a:p>
        </p:txBody>
      </p: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cxnSp>
        <p:nvCxnSpPr>
          <p:cNvPr id="10" name="Straight Arrow Connector 9">
            <a:extLst>
              <a:ext uri="{FF2B5EF4-FFF2-40B4-BE49-F238E27FC236}">
                <a16:creationId xmlns:a16="http://schemas.microsoft.com/office/drawing/2014/main" id="{4F250E3D-CB57-493F-AB5F-ACDA666870E5}"/>
              </a:ext>
            </a:extLst>
          </p:cNvPr>
          <p:cNvCxnSpPr>
            <a:cxnSpLocks/>
          </p:cNvCxnSpPr>
          <p:nvPr/>
        </p:nvCxnSpPr>
        <p:spPr>
          <a:xfrm flipH="1">
            <a:off x="1399175" y="3890008"/>
            <a:ext cx="5488499" cy="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846A5A9-D3D2-4F5A-8951-62DBE98F547F}"/>
              </a:ext>
            </a:extLst>
          </p:cNvPr>
          <p:cNvSpPr txBox="1"/>
          <p:nvPr/>
        </p:nvSpPr>
        <p:spPr>
          <a:xfrm>
            <a:off x="6961487" y="3741215"/>
            <a:ext cx="3744000" cy="861774"/>
          </a:xfrm>
          <a:prstGeom prst="rect">
            <a:avLst/>
          </a:prstGeom>
          <a:noFill/>
        </p:spPr>
        <p:txBody>
          <a:bodyPr wrap="square" rtlCol="0">
            <a:spAutoFit/>
          </a:bodyPr>
          <a:lstStyle/>
          <a:p>
            <a:r>
              <a:rPr lang="en-US" sz="1600" b="1" dirty="0">
                <a:solidFill>
                  <a:srgbClr val="6D64CC"/>
                </a:solidFill>
              </a:rPr>
              <a:t>[header2: “data”]</a:t>
            </a:r>
          </a:p>
          <a:p>
            <a:r>
              <a:rPr lang="en-US" sz="1600" b="1" dirty="0">
                <a:solidFill>
                  <a:srgbClr val="6D64CC"/>
                </a:solidFill>
              </a:rPr>
              <a:t>[header1: “more data”]</a:t>
            </a:r>
          </a:p>
          <a:p>
            <a:r>
              <a:rPr lang="en-US" sz="1600" b="1" dirty="0">
                <a:solidFill>
                  <a:srgbClr val="6D64CC"/>
                </a:solidFill>
              </a:rPr>
              <a:t>…</a:t>
            </a:r>
          </a:p>
        </p:txBody>
      </p:sp>
      <p:cxnSp>
        <p:nvCxnSpPr>
          <p:cNvPr id="25" name="Straight Arrow Connector 24">
            <a:extLst>
              <a:ext uri="{FF2B5EF4-FFF2-40B4-BE49-F238E27FC236}">
                <a16:creationId xmlns:a16="http://schemas.microsoft.com/office/drawing/2014/main" id="{A345FCD5-90AB-433F-A7CE-958E7539989C}"/>
              </a:ext>
            </a:extLst>
          </p:cNvPr>
          <p:cNvCxnSpPr>
            <a:cxnSpLocks/>
          </p:cNvCxnSpPr>
          <p:nvPr/>
        </p:nvCxnSpPr>
        <p:spPr>
          <a:xfrm flipH="1" flipV="1">
            <a:off x="4555422" y="4638921"/>
            <a:ext cx="3215541" cy="356100"/>
          </a:xfrm>
          <a:prstGeom prst="straightConnector1">
            <a:avLst/>
          </a:prstGeom>
          <a:ln w="57150">
            <a:solidFill>
              <a:srgbClr val="6D64CC"/>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E05DB9F-77E5-43DC-B363-6F604E220D11}"/>
              </a:ext>
            </a:extLst>
          </p:cNvPr>
          <p:cNvSpPr txBox="1"/>
          <p:nvPr/>
        </p:nvSpPr>
        <p:spPr>
          <a:xfrm>
            <a:off x="1848000" y="5077694"/>
            <a:ext cx="10079349" cy="338554"/>
          </a:xfrm>
          <a:prstGeom prst="rect">
            <a:avLst/>
          </a:prstGeom>
          <a:noFill/>
        </p:spPr>
        <p:txBody>
          <a:bodyPr wrap="square" rtlCol="0">
            <a:spAutoFit/>
          </a:bodyPr>
          <a:lstStyle/>
          <a:p>
            <a:r>
              <a:rPr lang="en-US" sz="1600" b="1" dirty="0">
                <a:solidFill>
                  <a:srgbClr val="6D64CC"/>
                </a:solidFill>
              </a:rPr>
              <a:t>1. e4 {[%</a:t>
            </a:r>
            <a:r>
              <a:rPr lang="en-US" sz="1600" b="1" dirty="0" err="1">
                <a:solidFill>
                  <a:srgbClr val="6D64CC"/>
                </a:solidFill>
              </a:rPr>
              <a:t>clk</a:t>
            </a:r>
            <a:r>
              <a:rPr lang="en-US" sz="1600" b="1" dirty="0">
                <a:solidFill>
                  <a:srgbClr val="6D64CC"/>
                </a:solidFill>
              </a:rPr>
              <a:t> = 1:00] [%eval = +0.2]} 1… a1? {[%</a:t>
            </a:r>
            <a:r>
              <a:rPr lang="en-US" sz="1600" b="1" dirty="0" err="1">
                <a:solidFill>
                  <a:srgbClr val="6D64CC"/>
                </a:solidFill>
              </a:rPr>
              <a:t>clk</a:t>
            </a:r>
            <a:r>
              <a:rPr lang="en-US" sz="1600" b="1" dirty="0">
                <a:solidFill>
                  <a:srgbClr val="6D64CC"/>
                </a:solidFill>
              </a:rPr>
              <a:t> = 0:56] [%eval = +1.2]} 2. … </a:t>
            </a:r>
          </a:p>
        </p:txBody>
      </p:sp>
      <p:cxnSp>
        <p:nvCxnSpPr>
          <p:cNvPr id="24" name="Straight Arrow Connector 23">
            <a:extLst>
              <a:ext uri="{FF2B5EF4-FFF2-40B4-BE49-F238E27FC236}">
                <a16:creationId xmlns:a16="http://schemas.microsoft.com/office/drawing/2014/main" id="{0C1EAB67-E8C4-45D0-87BE-C1272C7374F3}"/>
              </a:ext>
            </a:extLst>
          </p:cNvPr>
          <p:cNvCxnSpPr>
            <a:cxnSpLocks/>
          </p:cNvCxnSpPr>
          <p:nvPr/>
        </p:nvCxnSpPr>
        <p:spPr>
          <a:xfrm flipH="1">
            <a:off x="1560000" y="2205000"/>
            <a:ext cx="4536000" cy="0"/>
          </a:xfrm>
          <a:prstGeom prst="straightConnector1">
            <a:avLst/>
          </a:prstGeom>
          <a:ln w="571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32DD3D4-65CD-4E79-8D7A-480910F8BC3E}"/>
              </a:ext>
            </a:extLst>
          </p:cNvPr>
          <p:cNvSpPr txBox="1"/>
          <p:nvPr/>
        </p:nvSpPr>
        <p:spPr>
          <a:xfrm>
            <a:off x="6096000" y="1816381"/>
            <a:ext cx="3744000" cy="861774"/>
          </a:xfrm>
          <a:prstGeom prst="rect">
            <a:avLst/>
          </a:prstGeom>
          <a:noFill/>
        </p:spPr>
        <p:txBody>
          <a:bodyPr wrap="square" rtlCol="0">
            <a:spAutoFit/>
          </a:bodyPr>
          <a:lstStyle/>
          <a:p>
            <a:r>
              <a:rPr lang="en-US" sz="1600" b="1" dirty="0">
                <a:solidFill>
                  <a:schemeClr val="bg2">
                    <a:lumMod val="75000"/>
                  </a:schemeClr>
                </a:solidFill>
              </a:rPr>
              <a:t>[header1: “data”]</a:t>
            </a:r>
          </a:p>
          <a:p>
            <a:r>
              <a:rPr lang="en-US" sz="1600" b="1" dirty="0">
                <a:solidFill>
                  <a:schemeClr val="bg2">
                    <a:lumMod val="75000"/>
                  </a:schemeClr>
                </a:solidFill>
              </a:rPr>
              <a:t>[header2: “more data”]</a:t>
            </a:r>
          </a:p>
          <a:p>
            <a:r>
              <a:rPr lang="en-US" sz="1600" b="1" dirty="0">
                <a:solidFill>
                  <a:schemeClr val="bg2">
                    <a:lumMod val="75000"/>
                  </a:schemeClr>
                </a:solidFill>
              </a:rPr>
              <a:t>…</a:t>
            </a:r>
          </a:p>
        </p:txBody>
      </p:sp>
      <p:cxnSp>
        <p:nvCxnSpPr>
          <p:cNvPr id="29" name="Straight Arrow Connector 28">
            <a:extLst>
              <a:ext uri="{FF2B5EF4-FFF2-40B4-BE49-F238E27FC236}">
                <a16:creationId xmlns:a16="http://schemas.microsoft.com/office/drawing/2014/main" id="{2F44C0F5-4C3B-4DFC-A1AD-D5DA5C3FC2FC}"/>
              </a:ext>
            </a:extLst>
          </p:cNvPr>
          <p:cNvCxnSpPr>
            <a:cxnSpLocks/>
          </p:cNvCxnSpPr>
          <p:nvPr/>
        </p:nvCxnSpPr>
        <p:spPr>
          <a:xfrm flipH="1" flipV="1">
            <a:off x="4716247" y="2953913"/>
            <a:ext cx="3215541" cy="356100"/>
          </a:xfrm>
          <a:prstGeom prst="straightConnector1">
            <a:avLst/>
          </a:prstGeom>
          <a:ln w="571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5221F24-C4E3-4787-8362-017AB0978D89}"/>
              </a:ext>
            </a:extLst>
          </p:cNvPr>
          <p:cNvSpPr txBox="1"/>
          <p:nvPr/>
        </p:nvSpPr>
        <p:spPr>
          <a:xfrm>
            <a:off x="6695515" y="3392686"/>
            <a:ext cx="3744000" cy="338554"/>
          </a:xfrm>
          <a:prstGeom prst="rect">
            <a:avLst/>
          </a:prstGeom>
          <a:noFill/>
        </p:spPr>
        <p:txBody>
          <a:bodyPr wrap="square" rtlCol="0">
            <a:spAutoFit/>
          </a:bodyPr>
          <a:lstStyle/>
          <a:p>
            <a:r>
              <a:rPr lang="en-US" sz="1600" b="1" dirty="0">
                <a:solidFill>
                  <a:schemeClr val="bg2">
                    <a:lumMod val="75000"/>
                  </a:schemeClr>
                </a:solidFill>
              </a:rPr>
              <a:t>1. e4 e5 2. Nf3 Nc6 3…</a:t>
            </a:r>
          </a:p>
        </p:txBody>
      </p:sp>
    </p:spTree>
    <p:extLst>
      <p:ext uri="{BB962C8B-B14F-4D97-AF65-F5344CB8AC3E}">
        <p14:creationId xmlns:p14="http://schemas.microsoft.com/office/powerpoint/2010/main" val="151041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Scope and hypothesis</a:t>
            </a:r>
          </a:p>
        </p:txBody>
      </p:sp>
      <p:sp>
        <p:nvSpPr>
          <p:cNvPr id="6" name="Text Placeholder 5"/>
          <p:cNvSpPr>
            <a:spLocks noGrp="1"/>
          </p:cNvSpPr>
          <p:nvPr>
            <p:ph type="body" sz="quarter" idx="11"/>
          </p:nvPr>
        </p:nvSpPr>
        <p:spPr>
          <a:xfrm>
            <a:off x="227349" y="1148607"/>
            <a:ext cx="11700000" cy="504056"/>
          </a:xfrm>
        </p:spPr>
        <p:txBody>
          <a:bodyPr/>
          <a:lstStyle/>
          <a:p>
            <a:r>
              <a:rPr lang="en-GB" dirty="0"/>
              <a:t>Following in the footsteps of David Hilbert</a:t>
            </a:r>
          </a:p>
        </p:txBody>
      </p:sp>
      <p:grpSp>
        <p:nvGrpSpPr>
          <p:cNvPr id="73741" name="Group 73740">
            <a:extLst>
              <a:ext uri="{FF2B5EF4-FFF2-40B4-BE49-F238E27FC236}">
                <a16:creationId xmlns:a16="http://schemas.microsoft.com/office/drawing/2014/main" id="{5FEDB740-B648-4820-A25C-0C3FC328DBE5}"/>
              </a:ext>
            </a:extLst>
          </p:cNvPr>
          <p:cNvGrpSpPr/>
          <p:nvPr/>
        </p:nvGrpSpPr>
        <p:grpSpPr>
          <a:xfrm>
            <a:off x="555735" y="2093169"/>
            <a:ext cx="1764196" cy="1764196"/>
            <a:chOff x="623392" y="2528900"/>
            <a:chExt cx="1764196" cy="1764196"/>
          </a:xfrm>
        </p:grpSpPr>
        <p:sp>
          <p:nvSpPr>
            <p:cNvPr id="8" name="Oval 7">
              <a:extLst>
                <a:ext uri="{FF2B5EF4-FFF2-40B4-BE49-F238E27FC236}">
                  <a16:creationId xmlns:a16="http://schemas.microsoft.com/office/drawing/2014/main" id="{D7F90F97-F538-4ADA-A7C9-9BAD30380DA2}"/>
                </a:ext>
              </a:extLst>
            </p:cNvPr>
            <p:cNvSpPr/>
            <p:nvPr/>
          </p:nvSpPr>
          <p:spPr>
            <a:xfrm>
              <a:off x="623392" y="2528900"/>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4ED4FC31-0610-438C-8877-CC8D3FE24FF2}"/>
                </a:ext>
              </a:extLst>
            </p:cNvPr>
            <p:cNvSpPr/>
            <p:nvPr/>
          </p:nvSpPr>
          <p:spPr>
            <a:xfrm>
              <a:off x="976231" y="3481566"/>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FF6BA41A-981E-42FB-8547-B3D331502A66}"/>
                </a:ext>
              </a:extLst>
            </p:cNvPr>
            <p:cNvSpPr/>
            <p:nvPr/>
          </p:nvSpPr>
          <p:spPr>
            <a:xfrm>
              <a:off x="1530198" y="2749458"/>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0" name="Picture 2" descr="http://cdn.onlinewebfonts.com/svg/img_699.png">
              <a:extLst>
                <a:ext uri="{FF2B5EF4-FFF2-40B4-BE49-F238E27FC236}">
                  <a16:creationId xmlns:a16="http://schemas.microsoft.com/office/drawing/2014/main" id="{5490E85D-2EA0-400A-91E4-1A626847EF5C}"/>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952925" y="2720291"/>
              <a:ext cx="1105130" cy="1381414"/>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3736" name="Group 73735">
            <a:extLst>
              <a:ext uri="{FF2B5EF4-FFF2-40B4-BE49-F238E27FC236}">
                <a16:creationId xmlns:a16="http://schemas.microsoft.com/office/drawing/2014/main" id="{16EF893A-3C16-4CD5-88A4-0367FD12B4D8}"/>
              </a:ext>
            </a:extLst>
          </p:cNvPr>
          <p:cNvGrpSpPr/>
          <p:nvPr/>
        </p:nvGrpSpPr>
        <p:grpSpPr>
          <a:xfrm>
            <a:off x="6759439" y="2093169"/>
            <a:ext cx="1764196" cy="1764196"/>
            <a:chOff x="6075345" y="2528900"/>
            <a:chExt cx="1764196" cy="1764196"/>
          </a:xfrm>
        </p:grpSpPr>
        <p:sp>
          <p:nvSpPr>
            <p:cNvPr id="33" name="Oval 32">
              <a:extLst>
                <a:ext uri="{FF2B5EF4-FFF2-40B4-BE49-F238E27FC236}">
                  <a16:creationId xmlns:a16="http://schemas.microsoft.com/office/drawing/2014/main" id="{EAD1F48E-3628-48ED-911E-C0B50663F293}"/>
                </a:ext>
              </a:extLst>
            </p:cNvPr>
            <p:cNvSpPr/>
            <p:nvPr/>
          </p:nvSpPr>
          <p:spPr>
            <a:xfrm>
              <a:off x="6075345" y="2528900"/>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29" name="Group 73728">
              <a:extLst>
                <a:ext uri="{FF2B5EF4-FFF2-40B4-BE49-F238E27FC236}">
                  <a16:creationId xmlns:a16="http://schemas.microsoft.com/office/drawing/2014/main" id="{C161D540-A4BD-47C9-A0FA-E91189AABD13}"/>
                </a:ext>
              </a:extLst>
            </p:cNvPr>
            <p:cNvGrpSpPr/>
            <p:nvPr/>
          </p:nvGrpSpPr>
          <p:grpSpPr>
            <a:xfrm>
              <a:off x="6471390" y="2748198"/>
              <a:ext cx="972108" cy="1325600"/>
              <a:chOff x="4619837" y="2820206"/>
              <a:chExt cx="972108" cy="1325600"/>
            </a:xfrm>
          </p:grpSpPr>
          <p:cxnSp>
            <p:nvCxnSpPr>
              <p:cNvPr id="19" name="Straight Connector 18">
                <a:extLst>
                  <a:ext uri="{FF2B5EF4-FFF2-40B4-BE49-F238E27FC236}">
                    <a16:creationId xmlns:a16="http://schemas.microsoft.com/office/drawing/2014/main" id="{19EF5D4A-EA2E-4E01-898B-CF0ABE7064E3}"/>
                  </a:ext>
                </a:extLst>
              </p:cNvPr>
              <p:cNvCxnSpPr>
                <a:cxnSpLocks/>
                <a:endCxn id="20" idx="0"/>
              </p:cNvCxnSpPr>
              <p:nvPr/>
            </p:nvCxnSpPr>
            <p:spPr>
              <a:xfrm>
                <a:off x="5105891" y="3438819"/>
                <a:ext cx="0" cy="574427"/>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73728" name="Group 73727">
                <a:extLst>
                  <a:ext uri="{FF2B5EF4-FFF2-40B4-BE49-F238E27FC236}">
                    <a16:creationId xmlns:a16="http://schemas.microsoft.com/office/drawing/2014/main" id="{5BCF48E0-D07D-4CB2-9C2A-E10B23DAA088}"/>
                  </a:ext>
                </a:extLst>
              </p:cNvPr>
              <p:cNvGrpSpPr/>
              <p:nvPr/>
            </p:nvGrpSpPr>
            <p:grpSpPr>
              <a:xfrm>
                <a:off x="4619837" y="2820206"/>
                <a:ext cx="972108" cy="927920"/>
                <a:chOff x="4619837" y="2820206"/>
                <a:chExt cx="972108" cy="927920"/>
              </a:xfrm>
            </p:grpSpPr>
            <p:sp>
              <p:nvSpPr>
                <p:cNvPr id="13" name="Flowchart: Magnetic Disk 12">
                  <a:extLst>
                    <a:ext uri="{FF2B5EF4-FFF2-40B4-BE49-F238E27FC236}">
                      <a16:creationId xmlns:a16="http://schemas.microsoft.com/office/drawing/2014/main" id="{6FC36723-96BF-4728-BF65-308A8FEBEDD0}"/>
                    </a:ext>
                  </a:extLst>
                </p:cNvPr>
                <p:cNvSpPr/>
                <p:nvPr/>
              </p:nvSpPr>
              <p:spPr>
                <a:xfrm>
                  <a:off x="4619837" y="335044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Flowchart: Magnetic Disk 14">
                  <a:extLst>
                    <a:ext uri="{FF2B5EF4-FFF2-40B4-BE49-F238E27FC236}">
                      <a16:creationId xmlns:a16="http://schemas.microsoft.com/office/drawing/2014/main" id="{EAF610B3-A4E1-430B-9C20-FDB314439943}"/>
                    </a:ext>
                  </a:extLst>
                </p:cNvPr>
                <p:cNvSpPr/>
                <p:nvPr/>
              </p:nvSpPr>
              <p:spPr>
                <a:xfrm>
                  <a:off x="4619837" y="308532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Flowchart: Magnetic Disk 15">
                  <a:extLst>
                    <a:ext uri="{FF2B5EF4-FFF2-40B4-BE49-F238E27FC236}">
                      <a16:creationId xmlns:a16="http://schemas.microsoft.com/office/drawing/2014/main" id="{2202EE2A-8289-4588-BAA9-11BC915613AF}"/>
                    </a:ext>
                  </a:extLst>
                </p:cNvPr>
                <p:cNvSpPr/>
                <p:nvPr/>
              </p:nvSpPr>
              <p:spPr>
                <a:xfrm>
                  <a:off x="4619837" y="282020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4" name="Flowchart: Connector 13">
                  <a:extLst>
                    <a:ext uri="{FF2B5EF4-FFF2-40B4-BE49-F238E27FC236}">
                      <a16:creationId xmlns:a16="http://schemas.microsoft.com/office/drawing/2014/main" id="{91C34646-D078-45DB-B149-F42B6C572246}"/>
                    </a:ext>
                  </a:extLst>
                </p:cNvPr>
                <p:cNvSpPr/>
                <p:nvPr/>
              </p:nvSpPr>
              <p:spPr>
                <a:xfrm>
                  <a:off x="5487791" y="3315957"/>
                  <a:ext cx="69436" cy="8837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Flowchart: Connector 19">
                <a:extLst>
                  <a:ext uri="{FF2B5EF4-FFF2-40B4-BE49-F238E27FC236}">
                    <a16:creationId xmlns:a16="http://schemas.microsoft.com/office/drawing/2014/main" id="{585F90BC-8939-4420-A40D-A6A469046ED5}"/>
                  </a:ext>
                </a:extLst>
              </p:cNvPr>
              <p:cNvSpPr/>
              <p:nvPr/>
            </p:nvSpPr>
            <p:spPr>
              <a:xfrm>
                <a:off x="5039611" y="4013246"/>
                <a:ext cx="132560" cy="132560"/>
              </a:xfrm>
              <a:prstGeom prst="flowChartConnector">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3" name="Straight Connector 22">
                <a:extLst>
                  <a:ext uri="{FF2B5EF4-FFF2-40B4-BE49-F238E27FC236}">
                    <a16:creationId xmlns:a16="http://schemas.microsoft.com/office/drawing/2014/main" id="{DF86E6C9-F348-42B2-8784-6F7881C99C1D}"/>
                  </a:ext>
                </a:extLst>
              </p:cNvPr>
              <p:cNvCxnSpPr>
                <a:cxnSpLocks/>
                <a:stCxn id="20" idx="6"/>
              </p:cNvCxnSpPr>
              <p:nvPr/>
            </p:nvCxnSpPr>
            <p:spPr>
              <a:xfrm flipV="1">
                <a:off x="5172171" y="4079423"/>
                <a:ext cx="414971" cy="103"/>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2A4C8C-911B-444B-A0A5-364612A2AE15}"/>
                  </a:ext>
                </a:extLst>
              </p:cNvPr>
              <p:cNvCxnSpPr>
                <a:cxnSpLocks/>
                <a:endCxn id="20" idx="2"/>
              </p:cNvCxnSpPr>
              <p:nvPr/>
            </p:nvCxnSpPr>
            <p:spPr>
              <a:xfrm>
                <a:off x="4619837" y="4079526"/>
                <a:ext cx="419774"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73735" name="Group 73734">
            <a:extLst>
              <a:ext uri="{FF2B5EF4-FFF2-40B4-BE49-F238E27FC236}">
                <a16:creationId xmlns:a16="http://schemas.microsoft.com/office/drawing/2014/main" id="{E2CA308E-71D6-4982-A0BD-8A4507B1BE0F}"/>
              </a:ext>
            </a:extLst>
          </p:cNvPr>
          <p:cNvGrpSpPr/>
          <p:nvPr/>
        </p:nvGrpSpPr>
        <p:grpSpPr>
          <a:xfrm>
            <a:off x="3657587" y="2093169"/>
            <a:ext cx="1764196" cy="1764196"/>
            <a:chOff x="3410548" y="2528900"/>
            <a:chExt cx="1764196" cy="1764196"/>
          </a:xfrm>
        </p:grpSpPr>
        <p:sp>
          <p:nvSpPr>
            <p:cNvPr id="38" name="Oval 37">
              <a:extLst>
                <a:ext uri="{FF2B5EF4-FFF2-40B4-BE49-F238E27FC236}">
                  <a16:creationId xmlns:a16="http://schemas.microsoft.com/office/drawing/2014/main" id="{30787ABF-1C9F-462A-98D7-0A41E908BE7D}"/>
                </a:ext>
              </a:extLst>
            </p:cNvPr>
            <p:cNvSpPr/>
            <p:nvPr/>
          </p:nvSpPr>
          <p:spPr>
            <a:xfrm>
              <a:off x="3410548" y="2528900"/>
              <a:ext cx="1764196" cy="1764196"/>
            </a:xfrm>
            <a:prstGeom prst="ellipse">
              <a:avLst/>
            </a:prstGeom>
            <a:noFill/>
            <a:ln w="203200">
              <a:solidFill>
                <a:srgbClr val="00C3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34" name="Group 73733">
              <a:extLst>
                <a:ext uri="{FF2B5EF4-FFF2-40B4-BE49-F238E27FC236}">
                  <a16:creationId xmlns:a16="http://schemas.microsoft.com/office/drawing/2014/main" id="{159B7685-1E72-4C1F-A869-29DD2358524E}"/>
                </a:ext>
              </a:extLst>
            </p:cNvPr>
            <p:cNvGrpSpPr/>
            <p:nvPr/>
          </p:nvGrpSpPr>
          <p:grpSpPr>
            <a:xfrm>
              <a:off x="3571486" y="2708920"/>
              <a:ext cx="1442319" cy="1353937"/>
              <a:chOff x="3571486" y="2708920"/>
              <a:chExt cx="1442319" cy="1353937"/>
            </a:xfrm>
          </p:grpSpPr>
          <p:sp>
            <p:nvSpPr>
              <p:cNvPr id="73733" name="Rectangle 73732">
                <a:extLst>
                  <a:ext uri="{FF2B5EF4-FFF2-40B4-BE49-F238E27FC236}">
                    <a16:creationId xmlns:a16="http://schemas.microsoft.com/office/drawing/2014/main" id="{78F35ABE-0EE0-4F7B-B4D8-96A0FBA290D6}"/>
                  </a:ext>
                </a:extLst>
              </p:cNvPr>
              <p:cNvSpPr/>
              <p:nvPr/>
            </p:nvSpPr>
            <p:spPr>
              <a:xfrm>
                <a:off x="3647728" y="2924944"/>
                <a:ext cx="1296144" cy="10824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2" name="Picture 4" descr="http://cdn.onlinewebfonts.com/svg/img_47847.png">
                <a:extLst>
                  <a:ext uri="{FF2B5EF4-FFF2-40B4-BE49-F238E27FC236}">
                    <a16:creationId xmlns:a16="http://schemas.microsoft.com/office/drawing/2014/main" id="{8C036127-3243-40D8-8A86-9BF3E38C20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1486" y="2708920"/>
                <a:ext cx="1442319" cy="135393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3742" name="Group 73741">
            <a:extLst>
              <a:ext uri="{FF2B5EF4-FFF2-40B4-BE49-F238E27FC236}">
                <a16:creationId xmlns:a16="http://schemas.microsoft.com/office/drawing/2014/main" id="{65D4CFF0-3749-4E61-A471-7BD83170A5A5}"/>
              </a:ext>
            </a:extLst>
          </p:cNvPr>
          <p:cNvGrpSpPr/>
          <p:nvPr/>
        </p:nvGrpSpPr>
        <p:grpSpPr>
          <a:xfrm>
            <a:off x="9872069" y="2093169"/>
            <a:ext cx="1764196" cy="1764196"/>
            <a:chOff x="8760296" y="2528900"/>
            <a:chExt cx="1764196" cy="1764196"/>
          </a:xfrm>
        </p:grpSpPr>
        <p:sp>
          <p:nvSpPr>
            <p:cNvPr id="43" name="Oval 42">
              <a:extLst>
                <a:ext uri="{FF2B5EF4-FFF2-40B4-BE49-F238E27FC236}">
                  <a16:creationId xmlns:a16="http://schemas.microsoft.com/office/drawing/2014/main" id="{1FA91329-E68F-4BBC-98E4-EFD13696E8A3}"/>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40" name="Group 73739">
              <a:extLst>
                <a:ext uri="{FF2B5EF4-FFF2-40B4-BE49-F238E27FC236}">
                  <a16:creationId xmlns:a16="http://schemas.microsoft.com/office/drawing/2014/main" id="{78D9B4AE-4E06-4836-8A4E-F4A852AE967F}"/>
                </a:ext>
              </a:extLst>
            </p:cNvPr>
            <p:cNvGrpSpPr/>
            <p:nvPr/>
          </p:nvGrpSpPr>
          <p:grpSpPr>
            <a:xfrm>
              <a:off x="8920318" y="2688922"/>
              <a:ext cx="1444152" cy="1444152"/>
              <a:chOff x="8920318" y="2748393"/>
              <a:chExt cx="1444152" cy="1444152"/>
            </a:xfrm>
          </p:grpSpPr>
          <p:sp>
            <p:nvSpPr>
              <p:cNvPr id="73738" name="Rectangle 73737">
                <a:extLst>
                  <a:ext uri="{FF2B5EF4-FFF2-40B4-BE49-F238E27FC236}">
                    <a16:creationId xmlns:a16="http://schemas.microsoft.com/office/drawing/2014/main" id="{44104A97-FF21-4F1D-8705-7B9EF6EA4CD5}"/>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7" name="Picture 6" descr="http://icons.iconarchive.com/icons/iconsmind/outline/512/Line-Chart-icon.png">
                <a:extLst>
                  <a:ext uri="{FF2B5EF4-FFF2-40B4-BE49-F238E27FC236}">
                    <a16:creationId xmlns:a16="http://schemas.microsoft.com/office/drawing/2014/main" id="{589187EE-D2E5-45F4-BB15-B04EF3EE32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73744" name="Straight Arrow Connector 73743">
            <a:extLst>
              <a:ext uri="{FF2B5EF4-FFF2-40B4-BE49-F238E27FC236}">
                <a16:creationId xmlns:a16="http://schemas.microsoft.com/office/drawing/2014/main" id="{C064F8A3-3C36-44A9-9072-795B0578F810}"/>
              </a:ext>
            </a:extLst>
          </p:cNvPr>
          <p:cNvCxnSpPr>
            <a:cxnSpLocks/>
          </p:cNvCxnSpPr>
          <p:nvPr/>
        </p:nvCxnSpPr>
        <p:spPr>
          <a:xfrm>
            <a:off x="2496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8126A51-46AE-4F31-B64B-9F37ABBD6642}"/>
              </a:ext>
            </a:extLst>
          </p:cNvPr>
          <p:cNvCxnSpPr>
            <a:cxnSpLocks/>
          </p:cNvCxnSpPr>
          <p:nvPr/>
        </p:nvCxnSpPr>
        <p:spPr>
          <a:xfrm>
            <a:off x="5628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D202FBF0-8B78-4A48-AB5C-FA0D2A1CDA8A}"/>
              </a:ext>
            </a:extLst>
          </p:cNvPr>
          <p:cNvCxnSpPr>
            <a:cxnSpLocks/>
          </p:cNvCxnSpPr>
          <p:nvPr/>
        </p:nvCxnSpPr>
        <p:spPr>
          <a:xfrm>
            <a:off x="8760000" y="2975267"/>
            <a:ext cx="93600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pic>
        <p:nvPicPr>
          <p:cNvPr id="73755" name="Picture 8" descr="https://support.emeditor.com/public/images/emeditor_logo.png">
            <a:extLst>
              <a:ext uri="{FF2B5EF4-FFF2-40B4-BE49-F238E27FC236}">
                <a16:creationId xmlns:a16="http://schemas.microsoft.com/office/drawing/2014/main" id="{2F1EEF21-5FE1-41B4-B7FF-864BBA5C6A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408" y="4162955"/>
            <a:ext cx="1580265" cy="58864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https://www.younggates.com/uploads/1547662972python2.png">
            <a:extLst>
              <a:ext uri="{FF2B5EF4-FFF2-40B4-BE49-F238E27FC236}">
                <a16:creationId xmlns:a16="http://schemas.microsoft.com/office/drawing/2014/main" id="{ACEC38B8-37EB-4C5F-8882-DAA949BC03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650" r="23058"/>
          <a:stretch/>
        </p:blipFill>
        <p:spPr bwMode="auto">
          <a:xfrm>
            <a:off x="2613488" y="2183083"/>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73756" name="Picture 10" descr="https://www.macupdate.com/images/icons512/9695.png">
            <a:extLst>
              <a:ext uri="{FF2B5EF4-FFF2-40B4-BE49-F238E27FC236}">
                <a16:creationId xmlns:a16="http://schemas.microsoft.com/office/drawing/2014/main" id="{E85AB9A6-5048-46E1-97B9-C881B7054C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71057" y="2218324"/>
            <a:ext cx="540943" cy="54094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https://upload.wikimedia.org/wikipedia/commons/thumb/8/86/Microsoft_Excel_2013_logo.svg/611px-Microsoft_Excel_2013_logo.svg.png">
            <a:extLst>
              <a:ext uri="{FF2B5EF4-FFF2-40B4-BE49-F238E27FC236}">
                <a16:creationId xmlns:a16="http://schemas.microsoft.com/office/drawing/2014/main" id="{5FE47342-E9AE-493C-9235-72DAE78F461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12444" y="4135930"/>
            <a:ext cx="654479" cy="64269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descr="https://cdn.app.compendium.com/uploads/user/e7c690e8-6ff9-102a-ac6d-e4aebca50425/ee090372-8a63-44d7-b163-306184b9d293/File/cde43891991f76a5e7df17ac6d373aff/mysql_logo_png_transparent.png">
            <a:extLst>
              <a:ext uri="{FF2B5EF4-FFF2-40B4-BE49-F238E27FC236}">
                <a16:creationId xmlns:a16="http://schemas.microsoft.com/office/drawing/2014/main" id="{3DF97207-43DF-42A0-A95F-86CF7C42B4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60000" y="3983267"/>
            <a:ext cx="1381397" cy="95773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https://www.macupdate.com/images/icons512/9695.png">
            <a:extLst>
              <a:ext uri="{FF2B5EF4-FFF2-40B4-BE49-F238E27FC236}">
                <a16:creationId xmlns:a16="http://schemas.microsoft.com/office/drawing/2014/main" id="{F530A4D5-1BDF-449B-B9E9-DA6F12914B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19680" y="2216326"/>
            <a:ext cx="540943" cy="540943"/>
          </a:xfrm>
          <a:prstGeom prst="rect">
            <a:avLst/>
          </a:prstGeom>
          <a:noFill/>
          <a:extLst>
            <a:ext uri="{909E8E84-426E-40DD-AFC4-6F175D3DCCD1}">
              <a14:hiddenFill xmlns:a14="http://schemas.microsoft.com/office/drawing/2010/main">
                <a:solidFill>
                  <a:srgbClr val="FFFFFF"/>
                </a:solidFill>
              </a14:hiddenFill>
            </a:ext>
          </a:extLst>
        </p:spPr>
      </p:pic>
      <p:sp>
        <p:nvSpPr>
          <p:cNvPr id="73757" name="TextBox 73756">
            <a:extLst>
              <a:ext uri="{FF2B5EF4-FFF2-40B4-BE49-F238E27FC236}">
                <a16:creationId xmlns:a16="http://schemas.microsoft.com/office/drawing/2014/main" id="{63596E7D-F202-46D0-8AE2-42A0090F0730}"/>
              </a:ext>
            </a:extLst>
          </p:cNvPr>
          <p:cNvSpPr txBox="1"/>
          <p:nvPr/>
        </p:nvSpPr>
        <p:spPr>
          <a:xfrm>
            <a:off x="10128000" y="4162955"/>
            <a:ext cx="1224585" cy="707886"/>
          </a:xfrm>
          <a:prstGeom prst="rect">
            <a:avLst/>
          </a:prstGeom>
          <a:noFill/>
        </p:spPr>
        <p:txBody>
          <a:bodyPr wrap="square" rtlCol="0">
            <a:spAutoFit/>
          </a:bodyPr>
          <a:lstStyle/>
          <a:p>
            <a:pPr algn="ctr"/>
            <a:r>
              <a:rPr lang="en-US" sz="4000" b="1" dirty="0">
                <a:solidFill>
                  <a:srgbClr val="88D5ED"/>
                </a:solidFill>
              </a:rPr>
              <a:t>?</a:t>
            </a:r>
            <a:endParaRPr lang="en-AU" b="1" dirty="0">
              <a:solidFill>
                <a:srgbClr val="88D5ED"/>
              </a:solidFill>
            </a:endParaRPr>
          </a:p>
        </p:txBody>
      </p:sp>
    </p:spTree>
    <p:extLst>
      <p:ext uri="{BB962C8B-B14F-4D97-AF65-F5344CB8AC3E}">
        <p14:creationId xmlns:p14="http://schemas.microsoft.com/office/powerpoint/2010/main" val="219358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Less is more</a:t>
            </a:r>
          </a:p>
        </p:txBody>
      </p:sp>
      <p:sp>
        <p:nvSpPr>
          <p:cNvPr id="6" name="Text Placeholder 5"/>
          <p:cNvSpPr>
            <a:spLocks noGrp="1"/>
          </p:cNvSpPr>
          <p:nvPr>
            <p:ph type="body" sz="quarter" idx="11"/>
          </p:nvPr>
        </p:nvSpPr>
        <p:spPr>
          <a:xfrm>
            <a:off x="227349" y="1148607"/>
            <a:ext cx="11700000" cy="504056"/>
          </a:xfrm>
        </p:spPr>
        <p:txBody>
          <a:bodyPr/>
          <a:lstStyle/>
          <a:p>
            <a:r>
              <a:rPr lang="en-GB" dirty="0"/>
              <a:t>Simplifying simply simplifies </a:t>
            </a:r>
          </a:p>
        </p:txBody>
      </p:sp>
      <p:grpSp>
        <p:nvGrpSpPr>
          <p:cNvPr id="73741" name="Group 73740">
            <a:extLst>
              <a:ext uri="{FF2B5EF4-FFF2-40B4-BE49-F238E27FC236}">
                <a16:creationId xmlns:a16="http://schemas.microsoft.com/office/drawing/2014/main" id="{5FEDB740-B648-4820-A25C-0C3FC328DBE5}"/>
              </a:ext>
            </a:extLst>
          </p:cNvPr>
          <p:cNvGrpSpPr/>
          <p:nvPr/>
        </p:nvGrpSpPr>
        <p:grpSpPr>
          <a:xfrm>
            <a:off x="1253902" y="2105187"/>
            <a:ext cx="1764196" cy="1764196"/>
            <a:chOff x="623392" y="2528900"/>
            <a:chExt cx="1764196" cy="1764196"/>
          </a:xfrm>
        </p:grpSpPr>
        <p:sp>
          <p:nvSpPr>
            <p:cNvPr id="8" name="Oval 7">
              <a:extLst>
                <a:ext uri="{FF2B5EF4-FFF2-40B4-BE49-F238E27FC236}">
                  <a16:creationId xmlns:a16="http://schemas.microsoft.com/office/drawing/2014/main" id="{D7F90F97-F538-4ADA-A7C9-9BAD30380DA2}"/>
                </a:ext>
              </a:extLst>
            </p:cNvPr>
            <p:cNvSpPr/>
            <p:nvPr/>
          </p:nvSpPr>
          <p:spPr>
            <a:xfrm>
              <a:off x="623392" y="2528900"/>
              <a:ext cx="1764196" cy="1764196"/>
            </a:xfrm>
            <a:prstGeom prst="ellipse">
              <a:avLst/>
            </a:prstGeom>
            <a:noFill/>
            <a:ln w="203200">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4ED4FC31-0610-438C-8877-CC8D3FE24FF2}"/>
                </a:ext>
              </a:extLst>
            </p:cNvPr>
            <p:cNvSpPr/>
            <p:nvPr/>
          </p:nvSpPr>
          <p:spPr>
            <a:xfrm>
              <a:off x="976231" y="3481566"/>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FF6BA41A-981E-42FB-8547-B3D331502A66}"/>
                </a:ext>
              </a:extLst>
            </p:cNvPr>
            <p:cNvSpPr/>
            <p:nvPr/>
          </p:nvSpPr>
          <p:spPr>
            <a:xfrm>
              <a:off x="1530198" y="2749458"/>
              <a:ext cx="493975" cy="59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0" name="Picture 2" descr="http://cdn.onlinewebfonts.com/svg/img_699.png">
              <a:extLst>
                <a:ext uri="{FF2B5EF4-FFF2-40B4-BE49-F238E27FC236}">
                  <a16:creationId xmlns:a16="http://schemas.microsoft.com/office/drawing/2014/main" id="{5490E85D-2EA0-400A-91E4-1A626847EF5C}"/>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952925" y="2720291"/>
              <a:ext cx="1105130" cy="1381414"/>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3742" name="Group 73741">
            <a:extLst>
              <a:ext uri="{FF2B5EF4-FFF2-40B4-BE49-F238E27FC236}">
                <a16:creationId xmlns:a16="http://schemas.microsoft.com/office/drawing/2014/main" id="{65D4CFF0-3749-4E61-A471-7BD83170A5A5}"/>
              </a:ext>
            </a:extLst>
          </p:cNvPr>
          <p:cNvGrpSpPr/>
          <p:nvPr/>
        </p:nvGrpSpPr>
        <p:grpSpPr>
          <a:xfrm>
            <a:off x="9149194" y="2061000"/>
            <a:ext cx="1764196" cy="1764196"/>
            <a:chOff x="8760296" y="2528900"/>
            <a:chExt cx="1764196" cy="1764196"/>
          </a:xfrm>
        </p:grpSpPr>
        <p:sp>
          <p:nvSpPr>
            <p:cNvPr id="43" name="Oval 42">
              <a:extLst>
                <a:ext uri="{FF2B5EF4-FFF2-40B4-BE49-F238E27FC236}">
                  <a16:creationId xmlns:a16="http://schemas.microsoft.com/office/drawing/2014/main" id="{1FA91329-E68F-4BBC-98E4-EFD13696E8A3}"/>
                </a:ext>
              </a:extLst>
            </p:cNvPr>
            <p:cNvSpPr/>
            <p:nvPr/>
          </p:nvSpPr>
          <p:spPr>
            <a:xfrm>
              <a:off x="8760296" y="2528900"/>
              <a:ext cx="1764196" cy="1764196"/>
            </a:xfrm>
            <a:prstGeom prst="ellipse">
              <a:avLst/>
            </a:prstGeom>
            <a:noFill/>
            <a:ln w="203200">
              <a:solidFill>
                <a:srgbClr val="88D5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40" name="Group 73739">
              <a:extLst>
                <a:ext uri="{FF2B5EF4-FFF2-40B4-BE49-F238E27FC236}">
                  <a16:creationId xmlns:a16="http://schemas.microsoft.com/office/drawing/2014/main" id="{78D9B4AE-4E06-4836-8A4E-F4A852AE967F}"/>
                </a:ext>
              </a:extLst>
            </p:cNvPr>
            <p:cNvGrpSpPr/>
            <p:nvPr/>
          </p:nvGrpSpPr>
          <p:grpSpPr>
            <a:xfrm>
              <a:off x="8920318" y="2688922"/>
              <a:ext cx="1444152" cy="1444152"/>
              <a:chOff x="8920318" y="2748393"/>
              <a:chExt cx="1444152" cy="1444152"/>
            </a:xfrm>
          </p:grpSpPr>
          <p:sp>
            <p:nvSpPr>
              <p:cNvPr id="73738" name="Rectangle 73737">
                <a:extLst>
                  <a:ext uri="{FF2B5EF4-FFF2-40B4-BE49-F238E27FC236}">
                    <a16:creationId xmlns:a16="http://schemas.microsoft.com/office/drawing/2014/main" id="{44104A97-FF21-4F1D-8705-7B9EF6EA4CD5}"/>
                  </a:ext>
                </a:extLst>
              </p:cNvPr>
              <p:cNvSpPr/>
              <p:nvPr/>
            </p:nvSpPr>
            <p:spPr>
              <a:xfrm>
                <a:off x="9069499" y="3033534"/>
                <a:ext cx="946524" cy="1017959"/>
              </a:xfrm>
              <a:custGeom>
                <a:avLst/>
                <a:gdLst>
                  <a:gd name="connsiteX0" fmla="*/ 0 w 1274184"/>
                  <a:gd name="connsiteY0" fmla="*/ 0 h 1296089"/>
                  <a:gd name="connsiteX1" fmla="*/ 1274184 w 1274184"/>
                  <a:gd name="connsiteY1" fmla="*/ 0 h 1296089"/>
                  <a:gd name="connsiteX2" fmla="*/ 1274184 w 1274184"/>
                  <a:gd name="connsiteY2" fmla="*/ 1296089 h 1296089"/>
                  <a:gd name="connsiteX3" fmla="*/ 0 w 1274184"/>
                  <a:gd name="connsiteY3" fmla="*/ 1296089 h 1296089"/>
                  <a:gd name="connsiteX4" fmla="*/ 0 w 1274184"/>
                  <a:gd name="connsiteY4" fmla="*/ 0 h 1296089"/>
                  <a:gd name="connsiteX0" fmla="*/ 3810 w 1277994"/>
                  <a:gd name="connsiteY0" fmla="*/ 0 h 1467539"/>
                  <a:gd name="connsiteX1" fmla="*/ 1277994 w 1277994"/>
                  <a:gd name="connsiteY1" fmla="*/ 0 h 1467539"/>
                  <a:gd name="connsiteX2" fmla="*/ 1277994 w 1277994"/>
                  <a:gd name="connsiteY2" fmla="*/ 1296089 h 1467539"/>
                  <a:gd name="connsiteX3" fmla="*/ 0 w 1277994"/>
                  <a:gd name="connsiteY3" fmla="*/ 1467539 h 1467539"/>
                  <a:gd name="connsiteX4" fmla="*/ 3810 w 1277994"/>
                  <a:gd name="connsiteY4" fmla="*/ 0 h 1467539"/>
                  <a:gd name="connsiteX0" fmla="*/ 3810 w 1277994"/>
                  <a:gd name="connsiteY0" fmla="*/ 0 h 1482779"/>
                  <a:gd name="connsiteX1" fmla="*/ 1277994 w 1277994"/>
                  <a:gd name="connsiteY1" fmla="*/ 0 h 1482779"/>
                  <a:gd name="connsiteX2" fmla="*/ 1274184 w 1277994"/>
                  <a:gd name="connsiteY2" fmla="*/ 1482779 h 1482779"/>
                  <a:gd name="connsiteX3" fmla="*/ 0 w 1277994"/>
                  <a:gd name="connsiteY3" fmla="*/ 1467539 h 1482779"/>
                  <a:gd name="connsiteX4" fmla="*/ 3810 w 1277994"/>
                  <a:gd name="connsiteY4" fmla="*/ 0 h 1482779"/>
                  <a:gd name="connsiteX0" fmla="*/ 3810 w 1274184"/>
                  <a:gd name="connsiteY0" fmla="*/ 0 h 1482779"/>
                  <a:gd name="connsiteX1" fmla="*/ 409314 w 1274184"/>
                  <a:gd name="connsiteY1" fmla="*/ 1101090 h 1482779"/>
                  <a:gd name="connsiteX2" fmla="*/ 1274184 w 1274184"/>
                  <a:gd name="connsiteY2" fmla="*/ 1482779 h 1482779"/>
                  <a:gd name="connsiteX3" fmla="*/ 0 w 1274184"/>
                  <a:gd name="connsiteY3" fmla="*/ 1467539 h 1482779"/>
                  <a:gd name="connsiteX4" fmla="*/ 3810 w 1274184"/>
                  <a:gd name="connsiteY4" fmla="*/ 0 h 1482779"/>
                  <a:gd name="connsiteX0" fmla="*/ 3810 w 942714"/>
                  <a:gd name="connsiteY0" fmla="*/ 0 h 1486589"/>
                  <a:gd name="connsiteX1" fmla="*/ 409314 w 942714"/>
                  <a:gd name="connsiteY1" fmla="*/ 1101090 h 1486589"/>
                  <a:gd name="connsiteX2" fmla="*/ 942714 w 942714"/>
                  <a:gd name="connsiteY2" fmla="*/ 1486589 h 1486589"/>
                  <a:gd name="connsiteX3" fmla="*/ 0 w 942714"/>
                  <a:gd name="connsiteY3" fmla="*/ 1467539 h 1486589"/>
                  <a:gd name="connsiteX4" fmla="*/ 3810 w 942714"/>
                  <a:gd name="connsiteY4" fmla="*/ 0 h 1486589"/>
                  <a:gd name="connsiteX0" fmla="*/ 0 w 946524"/>
                  <a:gd name="connsiteY0" fmla="*/ 0 h 1017959"/>
                  <a:gd name="connsiteX1" fmla="*/ 413124 w 946524"/>
                  <a:gd name="connsiteY1" fmla="*/ 632460 h 1017959"/>
                  <a:gd name="connsiteX2" fmla="*/ 946524 w 946524"/>
                  <a:gd name="connsiteY2" fmla="*/ 1017959 h 1017959"/>
                  <a:gd name="connsiteX3" fmla="*/ 3810 w 946524"/>
                  <a:gd name="connsiteY3" fmla="*/ 998909 h 1017959"/>
                  <a:gd name="connsiteX4" fmla="*/ 0 w 946524"/>
                  <a:gd name="connsiteY4" fmla="*/ 0 h 10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524" h="1017959">
                    <a:moveTo>
                      <a:pt x="0" y="0"/>
                    </a:moveTo>
                    <a:lnTo>
                      <a:pt x="413124" y="632460"/>
                    </a:lnTo>
                    <a:lnTo>
                      <a:pt x="946524" y="1017959"/>
                    </a:lnTo>
                    <a:lnTo>
                      <a:pt x="3810" y="998909"/>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7" name="Picture 6" descr="http://icons.iconarchive.com/icons/iconsmind/outline/512/Line-Chart-icon.png">
                <a:extLst>
                  <a:ext uri="{FF2B5EF4-FFF2-40B4-BE49-F238E27FC236}">
                    <a16:creationId xmlns:a16="http://schemas.microsoft.com/office/drawing/2014/main" id="{589187EE-D2E5-45F4-BB15-B04EF3EE3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20318" y="2748393"/>
                <a:ext cx="1444152" cy="144415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73744" name="Straight Arrow Connector 73743">
            <a:extLst>
              <a:ext uri="{FF2B5EF4-FFF2-40B4-BE49-F238E27FC236}">
                <a16:creationId xmlns:a16="http://schemas.microsoft.com/office/drawing/2014/main" id="{C064F8A3-3C36-44A9-9072-795B0578F810}"/>
              </a:ext>
            </a:extLst>
          </p:cNvPr>
          <p:cNvCxnSpPr>
            <a:cxnSpLocks/>
          </p:cNvCxnSpPr>
          <p:nvPr/>
        </p:nvCxnSpPr>
        <p:spPr>
          <a:xfrm>
            <a:off x="3288000" y="2987285"/>
            <a:ext cx="1699720"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D202FBF0-8B78-4A48-AB5C-FA0D2A1CDA8A}"/>
              </a:ext>
            </a:extLst>
          </p:cNvPr>
          <p:cNvCxnSpPr>
            <a:cxnSpLocks/>
          </p:cNvCxnSpPr>
          <p:nvPr/>
        </p:nvCxnSpPr>
        <p:spPr>
          <a:xfrm>
            <a:off x="7204281" y="2987285"/>
            <a:ext cx="1699719" cy="0"/>
          </a:xfrm>
          <a:prstGeom prst="straightConnector1">
            <a:avLst/>
          </a:prstGeom>
          <a:ln w="76200">
            <a:solidFill>
              <a:srgbClr val="6D64CC"/>
            </a:solidFill>
            <a:tailEnd type="triangle"/>
          </a:ln>
        </p:spPr>
        <p:style>
          <a:lnRef idx="1">
            <a:schemeClr val="accent1"/>
          </a:lnRef>
          <a:fillRef idx="0">
            <a:schemeClr val="accent1"/>
          </a:fillRef>
          <a:effectRef idx="0">
            <a:schemeClr val="accent1"/>
          </a:effectRef>
          <a:fontRef idx="minor">
            <a:schemeClr val="tx1"/>
          </a:fontRef>
        </p:style>
      </p:cxnSp>
      <p:pic>
        <p:nvPicPr>
          <p:cNvPr id="39" name="Picture 10" descr="https://www.younggates.com/uploads/1547662972python2.png">
            <a:extLst>
              <a:ext uri="{FF2B5EF4-FFF2-40B4-BE49-F238E27FC236}">
                <a16:creationId xmlns:a16="http://schemas.microsoft.com/office/drawing/2014/main" id="{96B4F153-82AA-4545-9780-17354CF1E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3805399" y="2199233"/>
            <a:ext cx="664921" cy="64818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ttps://cdn.app.compendium.com/uploads/user/e7c690e8-6ff9-102a-ac6d-e4aebca50425/ee090372-8a63-44d7-b163-306184b9d293/File/cde43891991f76a5e7df17ac6d373aff/mysql_logo_png_transparent.png">
            <a:extLst>
              <a:ext uri="{FF2B5EF4-FFF2-40B4-BE49-F238E27FC236}">
                <a16:creationId xmlns:a16="http://schemas.microsoft.com/office/drawing/2014/main" id="{926500A6-03F4-4016-AD61-48B277614F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6650" y="3995285"/>
            <a:ext cx="1381397" cy="95773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https://www.younggates.com/uploads/1547662972python2.png">
            <a:extLst>
              <a:ext uri="{FF2B5EF4-FFF2-40B4-BE49-F238E27FC236}">
                <a16:creationId xmlns:a16="http://schemas.microsoft.com/office/drawing/2014/main" id="{1224AE1B-CD9B-4AEF-BF15-EA1D5487E3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7701316" y="2199233"/>
            <a:ext cx="664921" cy="648184"/>
          </a:xfrm>
          <a:prstGeom prst="rect">
            <a:avLst/>
          </a:prstGeom>
          <a:noFill/>
          <a:extLst>
            <a:ext uri="{909E8E84-426E-40DD-AFC4-6F175D3DCCD1}">
              <a14:hiddenFill xmlns:a14="http://schemas.microsoft.com/office/drawing/2010/main">
                <a:solidFill>
                  <a:srgbClr val="FFFFFF"/>
                </a:solidFill>
              </a14:hiddenFill>
            </a:ext>
          </a:extLst>
        </p:spPr>
      </p:pic>
      <p:grpSp>
        <p:nvGrpSpPr>
          <p:cNvPr id="73743" name="Group 73742">
            <a:extLst>
              <a:ext uri="{FF2B5EF4-FFF2-40B4-BE49-F238E27FC236}">
                <a16:creationId xmlns:a16="http://schemas.microsoft.com/office/drawing/2014/main" id="{B59DBC3D-3D96-4612-BA6B-1B649F205984}"/>
              </a:ext>
            </a:extLst>
          </p:cNvPr>
          <p:cNvGrpSpPr/>
          <p:nvPr/>
        </p:nvGrpSpPr>
        <p:grpSpPr>
          <a:xfrm>
            <a:off x="4939784" y="2865082"/>
            <a:ext cx="2312432" cy="2779714"/>
            <a:chOff x="4939784" y="2865082"/>
            <a:chExt cx="2312432" cy="2779714"/>
          </a:xfrm>
        </p:grpSpPr>
        <p:sp>
          <p:nvSpPr>
            <p:cNvPr id="29" name="Flowchart: Connector 28">
              <a:extLst>
                <a:ext uri="{FF2B5EF4-FFF2-40B4-BE49-F238E27FC236}">
                  <a16:creationId xmlns:a16="http://schemas.microsoft.com/office/drawing/2014/main" id="{50EFAF92-1330-4FF0-9A9D-C0100F9A8EAE}"/>
                </a:ext>
              </a:extLst>
            </p:cNvPr>
            <p:cNvSpPr/>
            <p:nvPr/>
          </p:nvSpPr>
          <p:spPr>
            <a:xfrm>
              <a:off x="4939784" y="3332364"/>
              <a:ext cx="2312432" cy="2312432"/>
            </a:xfrm>
            <a:prstGeom prst="flowChartConnector">
              <a:avLst/>
            </a:prstGeom>
            <a:noFill/>
            <a:ln w="76200">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7A03C4C-22CE-489D-A1EC-D27269F17CBC}"/>
                </a:ext>
              </a:extLst>
            </p:cNvPr>
            <p:cNvSpPr/>
            <p:nvPr/>
          </p:nvSpPr>
          <p:spPr>
            <a:xfrm rot="2376610">
              <a:off x="6156595" y="3130670"/>
              <a:ext cx="836443" cy="4842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21185ABD-0049-4707-95F2-E26407A187B2}"/>
                </a:ext>
              </a:extLst>
            </p:cNvPr>
            <p:cNvSpPr/>
            <p:nvPr/>
          </p:nvSpPr>
          <p:spPr>
            <a:xfrm rot="2376610">
              <a:off x="5132916" y="2865082"/>
              <a:ext cx="803039" cy="1099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8C6D4465-2C48-4901-8145-F8401FA48286}"/>
                </a:ext>
              </a:extLst>
            </p:cNvPr>
            <p:cNvSpPr/>
            <p:nvPr/>
          </p:nvSpPr>
          <p:spPr>
            <a:xfrm>
              <a:off x="5808000" y="3252405"/>
              <a:ext cx="597719" cy="282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Isosceles Triangle 56">
              <a:extLst>
                <a:ext uri="{FF2B5EF4-FFF2-40B4-BE49-F238E27FC236}">
                  <a16:creationId xmlns:a16="http://schemas.microsoft.com/office/drawing/2014/main" id="{DFAB4805-E243-4AD4-9C86-30E01DAAA233}"/>
                </a:ext>
              </a:extLst>
            </p:cNvPr>
            <p:cNvSpPr/>
            <p:nvPr/>
          </p:nvSpPr>
          <p:spPr>
            <a:xfrm rot="2396158">
              <a:off x="5121755" y="3631548"/>
              <a:ext cx="198114" cy="212078"/>
            </a:xfrm>
            <a:prstGeom prst="triangle">
              <a:avLst/>
            </a:prstGeom>
            <a:solidFill>
              <a:srgbClr val="6D64CC"/>
            </a:solidFill>
            <a:ln>
              <a:solidFill>
                <a:srgbClr val="6D64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73736" name="Group 73735">
            <a:extLst>
              <a:ext uri="{FF2B5EF4-FFF2-40B4-BE49-F238E27FC236}">
                <a16:creationId xmlns:a16="http://schemas.microsoft.com/office/drawing/2014/main" id="{16EF893A-3C16-4CD5-88A4-0367FD12B4D8}"/>
              </a:ext>
            </a:extLst>
          </p:cNvPr>
          <p:cNvGrpSpPr/>
          <p:nvPr/>
        </p:nvGrpSpPr>
        <p:grpSpPr>
          <a:xfrm>
            <a:off x="5203720" y="2105187"/>
            <a:ext cx="1764196" cy="1764196"/>
            <a:chOff x="6075345" y="2528900"/>
            <a:chExt cx="1764196" cy="1764196"/>
          </a:xfrm>
        </p:grpSpPr>
        <p:sp>
          <p:nvSpPr>
            <p:cNvPr id="33" name="Oval 32">
              <a:extLst>
                <a:ext uri="{FF2B5EF4-FFF2-40B4-BE49-F238E27FC236}">
                  <a16:creationId xmlns:a16="http://schemas.microsoft.com/office/drawing/2014/main" id="{EAD1F48E-3628-48ED-911E-C0B50663F293}"/>
                </a:ext>
              </a:extLst>
            </p:cNvPr>
            <p:cNvSpPr/>
            <p:nvPr/>
          </p:nvSpPr>
          <p:spPr>
            <a:xfrm>
              <a:off x="6075345" y="2528900"/>
              <a:ext cx="1764196" cy="1764196"/>
            </a:xfrm>
            <a:prstGeom prst="ellipse">
              <a:avLst/>
            </a:prstGeom>
            <a:noFill/>
            <a:ln w="203200">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3729" name="Group 73728">
              <a:extLst>
                <a:ext uri="{FF2B5EF4-FFF2-40B4-BE49-F238E27FC236}">
                  <a16:creationId xmlns:a16="http://schemas.microsoft.com/office/drawing/2014/main" id="{C161D540-A4BD-47C9-A0FA-E91189AABD13}"/>
                </a:ext>
              </a:extLst>
            </p:cNvPr>
            <p:cNvGrpSpPr/>
            <p:nvPr/>
          </p:nvGrpSpPr>
          <p:grpSpPr>
            <a:xfrm>
              <a:off x="6471390" y="2748198"/>
              <a:ext cx="972108" cy="1325600"/>
              <a:chOff x="4619837" y="2820206"/>
              <a:chExt cx="972108" cy="1325600"/>
            </a:xfrm>
          </p:grpSpPr>
          <p:cxnSp>
            <p:nvCxnSpPr>
              <p:cNvPr id="19" name="Straight Connector 18">
                <a:extLst>
                  <a:ext uri="{FF2B5EF4-FFF2-40B4-BE49-F238E27FC236}">
                    <a16:creationId xmlns:a16="http://schemas.microsoft.com/office/drawing/2014/main" id="{19EF5D4A-EA2E-4E01-898B-CF0ABE7064E3}"/>
                  </a:ext>
                </a:extLst>
              </p:cNvPr>
              <p:cNvCxnSpPr>
                <a:cxnSpLocks/>
                <a:endCxn id="20" idx="0"/>
              </p:cNvCxnSpPr>
              <p:nvPr/>
            </p:nvCxnSpPr>
            <p:spPr>
              <a:xfrm>
                <a:off x="5105891" y="3438819"/>
                <a:ext cx="0" cy="574427"/>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73728" name="Group 73727">
                <a:extLst>
                  <a:ext uri="{FF2B5EF4-FFF2-40B4-BE49-F238E27FC236}">
                    <a16:creationId xmlns:a16="http://schemas.microsoft.com/office/drawing/2014/main" id="{5BCF48E0-D07D-4CB2-9C2A-E10B23DAA088}"/>
                  </a:ext>
                </a:extLst>
              </p:cNvPr>
              <p:cNvGrpSpPr/>
              <p:nvPr/>
            </p:nvGrpSpPr>
            <p:grpSpPr>
              <a:xfrm>
                <a:off x="4619837" y="2820206"/>
                <a:ext cx="972108" cy="927920"/>
                <a:chOff x="4619837" y="2820206"/>
                <a:chExt cx="972108" cy="927920"/>
              </a:xfrm>
            </p:grpSpPr>
            <p:sp>
              <p:nvSpPr>
                <p:cNvPr id="13" name="Flowchart: Magnetic Disk 12">
                  <a:extLst>
                    <a:ext uri="{FF2B5EF4-FFF2-40B4-BE49-F238E27FC236}">
                      <a16:creationId xmlns:a16="http://schemas.microsoft.com/office/drawing/2014/main" id="{6FC36723-96BF-4728-BF65-308A8FEBEDD0}"/>
                    </a:ext>
                  </a:extLst>
                </p:cNvPr>
                <p:cNvSpPr/>
                <p:nvPr/>
              </p:nvSpPr>
              <p:spPr>
                <a:xfrm>
                  <a:off x="4619837" y="335044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Flowchart: Magnetic Disk 14">
                  <a:extLst>
                    <a:ext uri="{FF2B5EF4-FFF2-40B4-BE49-F238E27FC236}">
                      <a16:creationId xmlns:a16="http://schemas.microsoft.com/office/drawing/2014/main" id="{EAF610B3-A4E1-430B-9C20-FDB314439943}"/>
                    </a:ext>
                  </a:extLst>
                </p:cNvPr>
                <p:cNvSpPr/>
                <p:nvPr/>
              </p:nvSpPr>
              <p:spPr>
                <a:xfrm>
                  <a:off x="4619837" y="308532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Flowchart: Magnetic Disk 15">
                  <a:extLst>
                    <a:ext uri="{FF2B5EF4-FFF2-40B4-BE49-F238E27FC236}">
                      <a16:creationId xmlns:a16="http://schemas.microsoft.com/office/drawing/2014/main" id="{2202EE2A-8289-4588-BAA9-11BC915613AF}"/>
                    </a:ext>
                  </a:extLst>
                </p:cNvPr>
                <p:cNvSpPr/>
                <p:nvPr/>
              </p:nvSpPr>
              <p:spPr>
                <a:xfrm>
                  <a:off x="4619837" y="2820206"/>
                  <a:ext cx="972108" cy="397680"/>
                </a:xfrm>
                <a:prstGeom prst="flowChartMagneticDisk">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4" name="Flowchart: Connector 13">
                  <a:extLst>
                    <a:ext uri="{FF2B5EF4-FFF2-40B4-BE49-F238E27FC236}">
                      <a16:creationId xmlns:a16="http://schemas.microsoft.com/office/drawing/2014/main" id="{91C34646-D078-45DB-B149-F42B6C572246}"/>
                    </a:ext>
                  </a:extLst>
                </p:cNvPr>
                <p:cNvSpPr/>
                <p:nvPr/>
              </p:nvSpPr>
              <p:spPr>
                <a:xfrm>
                  <a:off x="5487791" y="3315957"/>
                  <a:ext cx="69436" cy="8837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Flowchart: Connector 19">
                <a:extLst>
                  <a:ext uri="{FF2B5EF4-FFF2-40B4-BE49-F238E27FC236}">
                    <a16:creationId xmlns:a16="http://schemas.microsoft.com/office/drawing/2014/main" id="{585F90BC-8939-4420-A40D-A6A469046ED5}"/>
                  </a:ext>
                </a:extLst>
              </p:cNvPr>
              <p:cNvSpPr/>
              <p:nvPr/>
            </p:nvSpPr>
            <p:spPr>
              <a:xfrm>
                <a:off x="5039611" y="4013246"/>
                <a:ext cx="132560" cy="132560"/>
              </a:xfrm>
              <a:prstGeom prst="flowChartConnector">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3" name="Straight Connector 22">
                <a:extLst>
                  <a:ext uri="{FF2B5EF4-FFF2-40B4-BE49-F238E27FC236}">
                    <a16:creationId xmlns:a16="http://schemas.microsoft.com/office/drawing/2014/main" id="{DF86E6C9-F348-42B2-8784-6F7881C99C1D}"/>
                  </a:ext>
                </a:extLst>
              </p:cNvPr>
              <p:cNvCxnSpPr>
                <a:cxnSpLocks/>
                <a:stCxn id="20" idx="6"/>
              </p:cNvCxnSpPr>
              <p:nvPr/>
            </p:nvCxnSpPr>
            <p:spPr>
              <a:xfrm flipV="1">
                <a:off x="5172171" y="4079423"/>
                <a:ext cx="414971" cy="103"/>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2A4C8C-911B-444B-A0A5-364612A2AE15}"/>
                  </a:ext>
                </a:extLst>
              </p:cNvPr>
              <p:cNvCxnSpPr>
                <a:cxnSpLocks/>
                <a:endCxn id="20" idx="2"/>
              </p:cNvCxnSpPr>
              <p:nvPr/>
            </p:nvCxnSpPr>
            <p:spPr>
              <a:xfrm>
                <a:off x="4619837" y="4079526"/>
                <a:ext cx="419774"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pic>
        <p:nvPicPr>
          <p:cNvPr id="59" name="Picture 10" descr="https://www.younggates.com/uploads/1547662972python2.png">
            <a:extLst>
              <a:ext uri="{FF2B5EF4-FFF2-40B4-BE49-F238E27FC236}">
                <a16:creationId xmlns:a16="http://schemas.microsoft.com/office/drawing/2014/main" id="{CC871D3D-B975-4D4A-8CC6-A640E8020A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5755543" y="5724755"/>
            <a:ext cx="664921" cy="648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884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68E06B7-C7A0-464A-BBE3-ECE83DC1A573}"/>
              </a:ext>
            </a:extLst>
          </p:cNvPr>
          <p:cNvSpPr/>
          <p:nvPr/>
        </p:nvSpPr>
        <p:spPr>
          <a:xfrm>
            <a:off x="10846840" y="1292607"/>
            <a:ext cx="289160" cy="303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3"/>
          <p:cNvSpPr>
            <a:spLocks noGrp="1"/>
          </p:cNvSpPr>
          <p:nvPr>
            <p:ph type="title"/>
          </p:nvPr>
        </p:nvSpPr>
        <p:spPr/>
        <p:txBody>
          <a:bodyPr/>
          <a:lstStyle/>
          <a:p>
            <a:br>
              <a:rPr lang="en-US" dirty="0"/>
            </a:br>
            <a:r>
              <a:rPr lang="en-US" dirty="0"/>
              <a:t>Hey now, you’re an all Star (Schema)</a:t>
            </a:r>
          </a:p>
        </p:txBody>
      </p:sp>
      <p:sp>
        <p:nvSpPr>
          <p:cNvPr id="6" name="Text Placeholder 5"/>
          <p:cNvSpPr>
            <a:spLocks noGrp="1"/>
          </p:cNvSpPr>
          <p:nvPr>
            <p:ph type="body" sz="quarter" idx="11"/>
          </p:nvPr>
        </p:nvSpPr>
        <p:spPr/>
        <p:txBody>
          <a:bodyPr/>
          <a:lstStyle/>
          <a:p>
            <a:r>
              <a:rPr lang="en-GB" dirty="0"/>
              <a:t>From unstructured to structure</a:t>
            </a:r>
          </a:p>
        </p:txBody>
      </p:sp>
      <p:grpSp>
        <p:nvGrpSpPr>
          <p:cNvPr id="9" name="Group 8">
            <a:extLst>
              <a:ext uri="{FF2B5EF4-FFF2-40B4-BE49-F238E27FC236}">
                <a16:creationId xmlns:a16="http://schemas.microsoft.com/office/drawing/2014/main" id="{ED8896E6-FDBB-4103-9639-16B817F1CED9}"/>
              </a:ext>
            </a:extLst>
          </p:cNvPr>
          <p:cNvGrpSpPr/>
          <p:nvPr/>
        </p:nvGrpSpPr>
        <p:grpSpPr>
          <a:xfrm>
            <a:off x="6600000" y="2844968"/>
            <a:ext cx="2376000" cy="1168064"/>
            <a:chOff x="3575003" y="2692936"/>
            <a:chExt cx="1803112" cy="2016000"/>
          </a:xfrm>
        </p:grpSpPr>
        <p:sp>
          <p:nvSpPr>
            <p:cNvPr id="7" name="Rectangle: Rounded Corners 6">
              <a:extLst>
                <a:ext uri="{FF2B5EF4-FFF2-40B4-BE49-F238E27FC236}">
                  <a16:creationId xmlns:a16="http://schemas.microsoft.com/office/drawing/2014/main" id="{8495BA66-4FBD-4719-976D-2DAF481935B5}"/>
                </a:ext>
              </a:extLst>
            </p:cNvPr>
            <p:cNvSpPr/>
            <p:nvPr/>
          </p:nvSpPr>
          <p:spPr>
            <a:xfrm>
              <a:off x="3576000" y="2692936"/>
              <a:ext cx="1800000" cy="2016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1D1B2486-5C29-4F2A-844C-8B278B340C57}"/>
                </a:ext>
              </a:extLst>
            </p:cNvPr>
            <p:cNvSpPr/>
            <p:nvPr/>
          </p:nvSpPr>
          <p:spPr>
            <a:xfrm>
              <a:off x="3575003" y="2692936"/>
              <a:ext cx="1803112" cy="376064"/>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3" name="Group 12">
            <a:extLst>
              <a:ext uri="{FF2B5EF4-FFF2-40B4-BE49-F238E27FC236}">
                <a16:creationId xmlns:a16="http://schemas.microsoft.com/office/drawing/2014/main" id="{C5FC04D6-CF08-41B3-9B36-A1D2CE2A0736}"/>
              </a:ext>
            </a:extLst>
          </p:cNvPr>
          <p:cNvGrpSpPr/>
          <p:nvPr/>
        </p:nvGrpSpPr>
        <p:grpSpPr>
          <a:xfrm>
            <a:off x="10849979" y="657000"/>
            <a:ext cx="504000" cy="5544000"/>
            <a:chOff x="10344000" y="765000"/>
            <a:chExt cx="504000" cy="5544000"/>
          </a:xfrm>
        </p:grpSpPr>
        <p:sp>
          <p:nvSpPr>
            <p:cNvPr id="11" name="Rectangle: Rounded Corners 10">
              <a:extLst>
                <a:ext uri="{FF2B5EF4-FFF2-40B4-BE49-F238E27FC236}">
                  <a16:creationId xmlns:a16="http://schemas.microsoft.com/office/drawing/2014/main" id="{EB72C9B5-1327-4CD2-B4FA-1B39FAFD9018}"/>
                </a:ext>
              </a:extLst>
            </p:cNvPr>
            <p:cNvSpPr/>
            <p:nvPr/>
          </p:nvSpPr>
          <p:spPr>
            <a:xfrm>
              <a:off x="10344279" y="765000"/>
              <a:ext cx="503130" cy="5544000"/>
            </a:xfrm>
            <a:prstGeom prst="roundRect">
              <a:avLst>
                <a:gd name="adj" fmla="val 932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Rounded Corners 7">
              <a:extLst>
                <a:ext uri="{FF2B5EF4-FFF2-40B4-BE49-F238E27FC236}">
                  <a16:creationId xmlns:a16="http://schemas.microsoft.com/office/drawing/2014/main" id="{09A4C12F-6AB3-4253-AD7B-651276659E84}"/>
                </a:ext>
              </a:extLst>
            </p:cNvPr>
            <p:cNvSpPr/>
            <p:nvPr/>
          </p:nvSpPr>
          <p:spPr>
            <a:xfrm>
              <a:off x="10344000" y="765000"/>
              <a:ext cx="504000" cy="14400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0" name="Group 19">
            <a:extLst>
              <a:ext uri="{FF2B5EF4-FFF2-40B4-BE49-F238E27FC236}">
                <a16:creationId xmlns:a16="http://schemas.microsoft.com/office/drawing/2014/main" id="{990B087C-EA72-4913-85F1-E90DEDD72EEF}"/>
              </a:ext>
            </a:extLst>
          </p:cNvPr>
          <p:cNvGrpSpPr/>
          <p:nvPr/>
        </p:nvGrpSpPr>
        <p:grpSpPr>
          <a:xfrm>
            <a:off x="9403535" y="2587770"/>
            <a:ext cx="1016400" cy="950175"/>
            <a:chOff x="9391292" y="2844968"/>
            <a:chExt cx="1016400" cy="950175"/>
          </a:xfrm>
        </p:grpSpPr>
        <p:sp>
          <p:nvSpPr>
            <p:cNvPr id="18" name="Rectangle: Rounded Corners 17">
              <a:extLst>
                <a:ext uri="{FF2B5EF4-FFF2-40B4-BE49-F238E27FC236}">
                  <a16:creationId xmlns:a16="http://schemas.microsoft.com/office/drawing/2014/main" id="{D008EE01-D1C3-45C4-9929-78EDA5D6E65D}"/>
                </a:ext>
              </a:extLst>
            </p:cNvPr>
            <p:cNvSpPr/>
            <p:nvPr/>
          </p:nvSpPr>
          <p:spPr>
            <a:xfrm>
              <a:off x="9391854" y="2844968"/>
              <a:ext cx="1014646" cy="950175"/>
            </a:xfrm>
            <a:prstGeom prst="roundRect">
              <a:avLst>
                <a:gd name="adj" fmla="val 9329"/>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Rounded Corners 7">
              <a:extLst>
                <a:ext uri="{FF2B5EF4-FFF2-40B4-BE49-F238E27FC236}">
                  <a16:creationId xmlns:a16="http://schemas.microsoft.com/office/drawing/2014/main" id="{AE6E8A56-53C8-40A2-92BD-06AEE29246C8}"/>
                </a:ext>
              </a:extLst>
            </p:cNvPr>
            <p:cNvSpPr/>
            <p:nvPr/>
          </p:nvSpPr>
          <p:spPr>
            <a:xfrm>
              <a:off x="9391292" y="2844968"/>
              <a:ext cx="1016400" cy="217890"/>
            </a:xfrm>
            <a:custGeom>
              <a:avLst/>
              <a:gdLst>
                <a:gd name="connsiteX0" fmla="*/ 0 w 1800000"/>
                <a:gd name="connsiteY0" fmla="*/ 169703 h 376064"/>
                <a:gd name="connsiteX1" fmla="*/ 169703 w 1800000"/>
                <a:gd name="connsiteY1" fmla="*/ 0 h 376064"/>
                <a:gd name="connsiteX2" fmla="*/ 1630297 w 1800000"/>
                <a:gd name="connsiteY2" fmla="*/ 0 h 376064"/>
                <a:gd name="connsiteX3" fmla="*/ 1800000 w 1800000"/>
                <a:gd name="connsiteY3" fmla="*/ 169703 h 376064"/>
                <a:gd name="connsiteX4" fmla="*/ 1800000 w 1800000"/>
                <a:gd name="connsiteY4" fmla="*/ 206361 h 376064"/>
                <a:gd name="connsiteX5" fmla="*/ 1630297 w 1800000"/>
                <a:gd name="connsiteY5" fmla="*/ 376064 h 376064"/>
                <a:gd name="connsiteX6" fmla="*/ 169703 w 1800000"/>
                <a:gd name="connsiteY6" fmla="*/ 376064 h 376064"/>
                <a:gd name="connsiteX7" fmla="*/ 0 w 1800000"/>
                <a:gd name="connsiteY7" fmla="*/ 206361 h 376064"/>
                <a:gd name="connsiteX8" fmla="*/ 0 w 1800000"/>
                <a:gd name="connsiteY8" fmla="*/ 169703 h 37606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00"/>
                <a:gd name="connsiteY0" fmla="*/ 169703 h 376174"/>
                <a:gd name="connsiteX1" fmla="*/ 169703 w 1800000"/>
                <a:gd name="connsiteY1" fmla="*/ 0 h 376174"/>
                <a:gd name="connsiteX2" fmla="*/ 1630297 w 1800000"/>
                <a:gd name="connsiteY2" fmla="*/ 0 h 376174"/>
                <a:gd name="connsiteX3" fmla="*/ 1800000 w 1800000"/>
                <a:gd name="connsiteY3" fmla="*/ 169703 h 376174"/>
                <a:gd name="connsiteX4" fmla="*/ 1800000 w 1800000"/>
                <a:gd name="connsiteY4" fmla="*/ 206361 h 376174"/>
                <a:gd name="connsiteX5" fmla="*/ 1630297 w 1800000"/>
                <a:gd name="connsiteY5" fmla="*/ 376064 h 376174"/>
                <a:gd name="connsiteX6" fmla="*/ 169703 w 1800000"/>
                <a:gd name="connsiteY6" fmla="*/ 376064 h 376174"/>
                <a:gd name="connsiteX7" fmla="*/ 0 w 1800000"/>
                <a:gd name="connsiteY7" fmla="*/ 206361 h 376174"/>
                <a:gd name="connsiteX8" fmla="*/ 0 w 1800000"/>
                <a:gd name="connsiteY8" fmla="*/ 169703 h 376174"/>
                <a:gd name="connsiteX0" fmla="*/ 0 w 1800059"/>
                <a:gd name="connsiteY0" fmla="*/ 169703 h 376174"/>
                <a:gd name="connsiteX1" fmla="*/ 169703 w 1800059"/>
                <a:gd name="connsiteY1" fmla="*/ 0 h 376174"/>
                <a:gd name="connsiteX2" fmla="*/ 1630297 w 1800059"/>
                <a:gd name="connsiteY2" fmla="*/ 0 h 376174"/>
                <a:gd name="connsiteX3" fmla="*/ 1800000 w 1800059"/>
                <a:gd name="connsiteY3" fmla="*/ 169703 h 376174"/>
                <a:gd name="connsiteX4" fmla="*/ 1800000 w 1800059"/>
                <a:gd name="connsiteY4" fmla="*/ 206361 h 376174"/>
                <a:gd name="connsiteX5" fmla="*/ 1630297 w 1800059"/>
                <a:gd name="connsiteY5" fmla="*/ 376064 h 376174"/>
                <a:gd name="connsiteX6" fmla="*/ 169703 w 1800059"/>
                <a:gd name="connsiteY6" fmla="*/ 376064 h 376174"/>
                <a:gd name="connsiteX7" fmla="*/ 0 w 1800059"/>
                <a:gd name="connsiteY7" fmla="*/ 206361 h 376174"/>
                <a:gd name="connsiteX8" fmla="*/ 0 w 1800059"/>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174"/>
                <a:gd name="connsiteX1" fmla="*/ 169703 w 1802114"/>
                <a:gd name="connsiteY1" fmla="*/ 0 h 376174"/>
                <a:gd name="connsiteX2" fmla="*/ 1630297 w 1802114"/>
                <a:gd name="connsiteY2" fmla="*/ 0 h 376174"/>
                <a:gd name="connsiteX3" fmla="*/ 1800000 w 1802114"/>
                <a:gd name="connsiteY3" fmla="*/ 169703 h 376174"/>
                <a:gd name="connsiteX4" fmla="*/ 1800000 w 1802114"/>
                <a:gd name="connsiteY4" fmla="*/ 206361 h 376174"/>
                <a:gd name="connsiteX5" fmla="*/ 1630297 w 1802114"/>
                <a:gd name="connsiteY5" fmla="*/ 376064 h 376174"/>
                <a:gd name="connsiteX6" fmla="*/ 169703 w 1802114"/>
                <a:gd name="connsiteY6" fmla="*/ 376064 h 376174"/>
                <a:gd name="connsiteX7" fmla="*/ 0 w 1802114"/>
                <a:gd name="connsiteY7" fmla="*/ 206361 h 376174"/>
                <a:gd name="connsiteX8" fmla="*/ 0 w 1802114"/>
                <a:gd name="connsiteY8" fmla="*/ 169703 h 376174"/>
                <a:gd name="connsiteX0" fmla="*/ 0 w 1802114"/>
                <a:gd name="connsiteY0" fmla="*/ 169703 h 376064"/>
                <a:gd name="connsiteX1" fmla="*/ 169703 w 1802114"/>
                <a:gd name="connsiteY1" fmla="*/ 0 h 376064"/>
                <a:gd name="connsiteX2" fmla="*/ 1630297 w 1802114"/>
                <a:gd name="connsiteY2" fmla="*/ 0 h 376064"/>
                <a:gd name="connsiteX3" fmla="*/ 1800000 w 1802114"/>
                <a:gd name="connsiteY3" fmla="*/ 169703 h 376064"/>
                <a:gd name="connsiteX4" fmla="*/ 1800000 w 1802114"/>
                <a:gd name="connsiteY4" fmla="*/ 206361 h 376064"/>
                <a:gd name="connsiteX5" fmla="*/ 1630297 w 1802114"/>
                <a:gd name="connsiteY5" fmla="*/ 376064 h 376064"/>
                <a:gd name="connsiteX6" fmla="*/ 169703 w 1802114"/>
                <a:gd name="connsiteY6" fmla="*/ 376064 h 376064"/>
                <a:gd name="connsiteX7" fmla="*/ 0 w 1802114"/>
                <a:gd name="connsiteY7" fmla="*/ 206361 h 376064"/>
                <a:gd name="connsiteX8" fmla="*/ 0 w 1802114"/>
                <a:gd name="connsiteY8" fmla="*/ 169703 h 376064"/>
                <a:gd name="connsiteX0" fmla="*/ 998 w 1803112"/>
                <a:gd name="connsiteY0" fmla="*/ 169703 h 376064"/>
                <a:gd name="connsiteX1" fmla="*/ 170701 w 1803112"/>
                <a:gd name="connsiteY1" fmla="*/ 0 h 376064"/>
                <a:gd name="connsiteX2" fmla="*/ 1631295 w 1803112"/>
                <a:gd name="connsiteY2" fmla="*/ 0 h 376064"/>
                <a:gd name="connsiteX3" fmla="*/ 1800998 w 1803112"/>
                <a:gd name="connsiteY3" fmla="*/ 169703 h 376064"/>
                <a:gd name="connsiteX4" fmla="*/ 1800998 w 1803112"/>
                <a:gd name="connsiteY4" fmla="*/ 206361 h 376064"/>
                <a:gd name="connsiteX5" fmla="*/ 1631295 w 1803112"/>
                <a:gd name="connsiteY5" fmla="*/ 376064 h 376064"/>
                <a:gd name="connsiteX6" fmla="*/ 170701 w 1803112"/>
                <a:gd name="connsiteY6" fmla="*/ 376064 h 376064"/>
                <a:gd name="connsiteX7" fmla="*/ 998 w 1803112"/>
                <a:gd name="connsiteY7" fmla="*/ 206361 h 376064"/>
                <a:gd name="connsiteX8" fmla="*/ 998 w 1803112"/>
                <a:gd name="connsiteY8" fmla="*/ 169703 h 3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3112" h="376064">
                  <a:moveTo>
                    <a:pt x="998" y="169703"/>
                  </a:moveTo>
                  <a:cubicBezTo>
                    <a:pt x="998" y="75979"/>
                    <a:pt x="76977" y="0"/>
                    <a:pt x="170701" y="0"/>
                  </a:cubicBezTo>
                  <a:lnTo>
                    <a:pt x="1631295" y="0"/>
                  </a:lnTo>
                  <a:cubicBezTo>
                    <a:pt x="1725019" y="0"/>
                    <a:pt x="1800998" y="75979"/>
                    <a:pt x="1800998" y="169703"/>
                  </a:cubicBezTo>
                  <a:lnTo>
                    <a:pt x="1800998" y="206361"/>
                  </a:lnTo>
                  <a:cubicBezTo>
                    <a:pt x="1803538" y="383905"/>
                    <a:pt x="1826619" y="370984"/>
                    <a:pt x="1631295" y="376064"/>
                  </a:cubicBezTo>
                  <a:lnTo>
                    <a:pt x="170701" y="376064"/>
                  </a:lnTo>
                  <a:cubicBezTo>
                    <a:pt x="-11923" y="373524"/>
                    <a:pt x="-1542" y="391525"/>
                    <a:pt x="998" y="206361"/>
                  </a:cubicBezTo>
                  <a:lnTo>
                    <a:pt x="998" y="169703"/>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cxnSp>
        <p:nvCxnSpPr>
          <p:cNvPr id="22" name="Connector: Elbow 21">
            <a:extLst>
              <a:ext uri="{FF2B5EF4-FFF2-40B4-BE49-F238E27FC236}">
                <a16:creationId xmlns:a16="http://schemas.microsoft.com/office/drawing/2014/main" id="{12E1A9AD-8F14-4FF2-A858-DD7D926CCF3E}"/>
              </a:ext>
            </a:extLst>
          </p:cNvPr>
          <p:cNvCxnSpPr>
            <a:cxnSpLocks/>
            <a:stCxn id="18" idx="1"/>
            <a:endCxn id="7" idx="3"/>
          </p:cNvCxnSpPr>
          <p:nvPr/>
        </p:nvCxnSpPr>
        <p:spPr>
          <a:xfrm rot="10800000" flipV="1">
            <a:off x="8973213" y="3062858"/>
            <a:ext cx="430884" cy="36614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87DCCB5-525C-4516-BC3D-80876E0919B9}"/>
              </a:ext>
            </a:extLst>
          </p:cNvPr>
          <p:cNvCxnSpPr>
            <a:cxnSpLocks/>
            <a:stCxn id="18" idx="3"/>
            <a:endCxn id="32" idx="1"/>
          </p:cNvCxnSpPr>
          <p:nvPr/>
        </p:nvCxnSpPr>
        <p:spPr>
          <a:xfrm flipV="1">
            <a:off x="10418743" y="1444557"/>
            <a:ext cx="428097" cy="161830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7820E86-DDE5-4E48-861B-1E603EC78525}"/>
              </a:ext>
            </a:extLst>
          </p:cNvPr>
          <p:cNvGrpSpPr/>
          <p:nvPr/>
        </p:nvGrpSpPr>
        <p:grpSpPr>
          <a:xfrm>
            <a:off x="403006" y="1816381"/>
            <a:ext cx="5258471" cy="4410297"/>
            <a:chOff x="693529" y="2133000"/>
            <a:chExt cx="5258471" cy="4410297"/>
          </a:xfrm>
        </p:grpSpPr>
        <p:sp>
          <p:nvSpPr>
            <p:cNvPr id="35" name="Rectangle 34">
              <a:extLst>
                <a:ext uri="{FF2B5EF4-FFF2-40B4-BE49-F238E27FC236}">
                  <a16:creationId xmlns:a16="http://schemas.microsoft.com/office/drawing/2014/main" id="{BC3B9721-AA8E-428B-9FC0-0E45381AC105}"/>
                </a:ext>
              </a:extLst>
            </p:cNvPr>
            <p:cNvSpPr/>
            <p:nvPr/>
          </p:nvSpPr>
          <p:spPr>
            <a:xfrm>
              <a:off x="840000" y="2133000"/>
              <a:ext cx="5112000" cy="42480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70BCB5F4-8C7D-4232-8A17-7E0B3B90191B}"/>
                </a:ext>
              </a:extLst>
            </p:cNvPr>
            <p:cNvPicPr>
              <a:picLocks noChangeAspect="1"/>
            </p:cNvPicPr>
            <p:nvPr/>
          </p:nvPicPr>
          <p:blipFill>
            <a:blip r:embed="rId3"/>
            <a:stretch>
              <a:fillRect/>
            </a:stretch>
          </p:blipFill>
          <p:spPr>
            <a:xfrm>
              <a:off x="693529" y="2277000"/>
              <a:ext cx="5096438" cy="4266297"/>
            </a:xfrm>
            <a:prstGeom prst="rect">
              <a:avLst/>
            </a:prstGeom>
            <a:noFill/>
            <a:ln w="76200">
              <a:solidFill>
                <a:schemeClr val="bg1"/>
              </a:solidFill>
            </a:ln>
            <a:effectLst>
              <a:softEdge rad="12700"/>
            </a:effectLst>
          </p:spPr>
        </p:pic>
      </p:grpSp>
    </p:spTree>
    <p:extLst>
      <p:ext uri="{BB962C8B-B14F-4D97-AF65-F5344CB8AC3E}">
        <p14:creationId xmlns:p14="http://schemas.microsoft.com/office/powerpoint/2010/main" val="1816511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808</TotalTime>
  <Words>818</Words>
  <Application>Microsoft Office PowerPoint</Application>
  <PresentationFormat>Widescreen</PresentationFormat>
  <Paragraphs>116</Paragraphs>
  <Slides>22</Slides>
  <Notes>13</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29" baseType="lpstr">
      <vt:lpstr>Arial</vt:lpstr>
      <vt:lpstr>Verdana</vt:lpstr>
      <vt:lpstr>Wingdings</vt:lpstr>
      <vt:lpstr>Capgemini Master</vt:lpstr>
      <vt:lpstr>Cover options</vt:lpstr>
      <vt:lpstr>Final slides</vt:lpstr>
      <vt:lpstr>think-cell Slide</vt:lpstr>
      <vt:lpstr>Unstructured Data or: How I Learnt To Stop Worrying And Love /regex/</vt:lpstr>
      <vt:lpstr> My experience going in</vt:lpstr>
      <vt:lpstr> (Li)chess</vt:lpstr>
      <vt:lpstr> PGN</vt:lpstr>
      <vt:lpstr> PGN</vt:lpstr>
      <vt:lpstr> Hey now, you’re an all Star (Schema)</vt:lpstr>
      <vt:lpstr> Scope and hypothesis</vt:lpstr>
      <vt:lpstr> Less is more</vt:lpstr>
      <vt:lpstr> Hey now, you’re an all Star (Schema)</vt:lpstr>
      <vt:lpstr> Iterating towards perfection</vt:lpstr>
      <vt:lpstr> Problems at scale</vt:lpstr>
      <vt:lpstr> Some preliminary results</vt:lpstr>
      <vt:lpstr>PowerPoint Presentation</vt:lpstr>
      <vt:lpstr> Some more advanced visualisations</vt:lpstr>
      <vt:lpstr> Heatmaps</vt:lpstr>
      <vt:lpstr> Heatmaps</vt:lpstr>
      <vt:lpstr> Heatmaps</vt:lpstr>
      <vt:lpstr> Heatmaps</vt:lpstr>
      <vt:lpstr> Heatmaps</vt:lpstr>
      <vt:lpstr> Future work</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structured Data</dc:title>
  <dc:subject>ppt template</dc:subject>
  <dc:creator>Luke Keating Hughes</dc:creator>
  <cp:lastModifiedBy>Keating Hughes, Luke</cp:lastModifiedBy>
  <cp:revision>73</cp:revision>
  <dcterms:created xsi:type="dcterms:W3CDTF">2019-07-29T09:41:21Z</dcterms:created>
  <dcterms:modified xsi:type="dcterms:W3CDTF">2019-08-09T01:13:41Z</dcterms:modified>
</cp:coreProperties>
</file>